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tags/tag24.xml" ContentType="application/vnd.openxmlformats-officedocument.presentationml.tags+xml"/>
  <Override PartName="/ppt/notesSlides/notesSlide24.xml" ContentType="application/vnd.openxmlformats-officedocument.presentationml.notesSlide+xml"/>
  <Override PartName="/ppt/tags/tag25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27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</p:sldIdLst>
  <p:sldSz cx="9144000" cy="5143500" type="screen16x9"/>
  <p:notesSz cx="6858000" cy="9144000"/>
  <p:embeddedFontLst>
    <p:embeddedFont>
      <p:font typeface="Georgia" panose="02040502050405020303" pitchFamily="18" charset="0"/>
      <p:regular r:id="rId28"/>
      <p:bold r:id="rId29"/>
      <p:italic r:id="rId30"/>
      <p:boldItalic r:id="rId31"/>
    </p:embeddedFont>
    <p:embeddedFont>
      <p:font typeface="Lato" panose="020F0502020204030203" pitchFamily="34" charset="0"/>
      <p:regular r:id="rId32"/>
      <p:bold r:id="rId33"/>
      <p:italic r:id="rId34"/>
      <p:boldItalic r:id="rId35"/>
    </p:embeddedFont>
    <p:embeddedFont>
      <p:font typeface="Open Sans" panose="020B0606030504020204" pitchFamily="34" charset="0"/>
      <p:regular r:id="rId36"/>
      <p:bold r:id="rId37"/>
      <p:italic r:id="rId38"/>
      <p:boldItalic r:id="rId39"/>
    </p:embeddedFont>
    <p:embeddedFont>
      <p:font typeface="Proxima Nova" panose="02000506030000020004" pitchFamily="2" charset="0"/>
      <p:regular r:id="rId40"/>
      <p:bold r:id="rId41"/>
      <p:italic r:id="rId42"/>
      <p:boldItalic r:id="rId43"/>
    </p:embeddedFont>
    <p:embeddedFont>
      <p:font typeface="Roboto" panose="02000000000000000000" pitchFamily="2" charset="0"/>
      <p:regular r:id="rId44"/>
      <p:bold r:id="rId45"/>
      <p:italic r:id="rId46"/>
      <p:boldItalic r:id="rId4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099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54"/>
    <p:restoredTop sz="94478"/>
  </p:normalViewPr>
  <p:slideViewPr>
    <p:cSldViewPr snapToGrid="0">
      <p:cViewPr>
        <p:scale>
          <a:sx n="160" d="100"/>
          <a:sy n="160" d="100"/>
        </p:scale>
        <p:origin x="1224" y="52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2.fntdata"/><Relationship Id="rId21" Type="http://schemas.openxmlformats.org/officeDocument/2006/relationships/slide" Target="slides/slide20.xml"/><Relationship Id="rId34" Type="http://schemas.openxmlformats.org/officeDocument/2006/relationships/font" Target="fonts/font7.fntdata"/><Relationship Id="rId42" Type="http://schemas.openxmlformats.org/officeDocument/2006/relationships/font" Target="fonts/font15.fntdata"/><Relationship Id="rId47" Type="http://schemas.openxmlformats.org/officeDocument/2006/relationships/font" Target="fonts/font20.fntdata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2.fntdata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font" Target="fonts/font13.fntdata"/><Relationship Id="rId45" Type="http://schemas.openxmlformats.org/officeDocument/2006/relationships/font" Target="fonts/font1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4" Type="http://schemas.openxmlformats.org/officeDocument/2006/relationships/font" Target="fonts/font1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font" Target="fonts/font16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46" Type="http://schemas.openxmlformats.org/officeDocument/2006/relationships/font" Target="fonts/font19.fntdata"/><Relationship Id="rId20" Type="http://schemas.openxmlformats.org/officeDocument/2006/relationships/slide" Target="slides/slide19.xml"/><Relationship Id="rId41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gd5b4d929fa_1_3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7" name="Google Shape;127;gd5b4d929fa_1_3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41325" lvl="0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150"/>
              <a:buFont typeface="+mj-lt"/>
              <a:buAutoNum type="romanUcPeriod"/>
            </a:pPr>
            <a:r>
              <a:rPr lang="en" sz="1150" u="none" dirty="0">
                <a:solidFill>
                  <a:srgbClr val="333333"/>
                </a:solidFill>
                <a:highlight>
                  <a:srgbClr val="FFFFFF"/>
                </a:highlight>
                <a:latin typeface="Open Sans"/>
                <a:ea typeface="Open Sans"/>
                <a:cs typeface="Open Sans"/>
                <a:sym typeface="Open Sans"/>
              </a:rPr>
              <a:t>There must be a </a:t>
            </a:r>
            <a:r>
              <a:rPr lang="en" sz="1150" u="none" dirty="0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linear relationship</a:t>
            </a:r>
            <a:r>
              <a:rPr lang="en" sz="1150" u="none" dirty="0">
                <a:solidFill>
                  <a:srgbClr val="333333"/>
                </a:solidFill>
                <a:highlight>
                  <a:srgbClr val="FFFFFF"/>
                </a:highlight>
                <a:latin typeface="Open Sans"/>
                <a:ea typeface="Open Sans"/>
                <a:cs typeface="Open Sans"/>
                <a:sym typeface="Open Sans"/>
              </a:rPr>
              <a:t> between the outcome variable and the independent variables</a:t>
            </a:r>
          </a:p>
          <a:p>
            <a:pPr marL="898525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150"/>
              <a:buFont typeface="+mj-lt"/>
              <a:buAutoNum type="romanLcPeriod"/>
            </a:pPr>
            <a:r>
              <a:rPr lang="en" sz="1150" u="none" dirty="0">
                <a:solidFill>
                  <a:srgbClr val="333333"/>
                </a:solidFill>
                <a:highlight>
                  <a:srgbClr val="FFFFFF"/>
                </a:highlight>
                <a:latin typeface="Open Sans"/>
                <a:ea typeface="Open Sans"/>
                <a:cs typeface="Open Sans"/>
                <a:sym typeface="Open Sans"/>
              </a:rPr>
              <a:t>Scatterplots can show whether there is a linear or curvilinear relationship</a:t>
            </a:r>
            <a:endParaRPr sz="1150" u="none" dirty="0">
              <a:solidFill>
                <a:srgbClr val="333333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441325" lvl="0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150"/>
              <a:buFont typeface="+mj-lt"/>
              <a:buAutoNum type="romanUcPeriod"/>
            </a:pPr>
            <a:r>
              <a:rPr lang="en" sz="1150" u="none" dirty="0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No Multicollinearity – Multiple regression assumes that the independent variables are not highly correlated with each other</a:t>
            </a:r>
          </a:p>
          <a:p>
            <a:pPr marL="898525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150"/>
              <a:buFont typeface="+mj-lt"/>
              <a:buAutoNum type="romanLcPeriod"/>
            </a:pPr>
            <a:r>
              <a:rPr lang="en" sz="1150" u="none" dirty="0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This assumption is tested using Variance Inflation Factor (VIF) values</a:t>
            </a:r>
            <a:endParaRPr sz="1150" u="none" dirty="0">
              <a:solidFill>
                <a:srgbClr val="333333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441325" lvl="0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150"/>
              <a:buFont typeface="+mj-lt"/>
              <a:buAutoNum type="romanUcPeriod"/>
            </a:pPr>
            <a:r>
              <a:rPr lang="en" sz="1150" u="none" dirty="0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Multivariate Normality – Multiple regression assumes that the residuals are normally distributed</a:t>
            </a:r>
          </a:p>
          <a:p>
            <a:pPr marL="441325" lvl="0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150"/>
              <a:buFont typeface="+mj-lt"/>
              <a:buAutoNum type="romanUcPeriod"/>
            </a:pPr>
            <a:r>
              <a:rPr lang="en" sz="1150" u="none" dirty="0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Homoscedasticity – This assumption states that the variance of error terms are similar across the values of the independent variables</a:t>
            </a:r>
          </a:p>
          <a:p>
            <a:pPr marL="898525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150"/>
              <a:buFont typeface="+mj-lt"/>
              <a:buAutoNum type="romanLcPeriod"/>
            </a:pPr>
            <a:r>
              <a:rPr lang="en" sz="1150" u="none" dirty="0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A standardized residuals versus predicted values plot can show whether points are equally distributed across all values of the independent variables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gd5b4d929fa_1_3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6" name="Google Shape;136;gd5b4d929fa_1_3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gd5b4d929fa_1_3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7" name="Google Shape;147;gd5b4d929fa_1_37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dirty="0">
              <a:solidFill>
                <a:srgbClr val="616161"/>
              </a:solidFill>
              <a:highlight>
                <a:srgbClr val="FFFF00"/>
              </a:highlight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d5cbbe0d27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d5cbbe0d27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none" dirty="0">
                <a:solidFill>
                  <a:srgbClr val="616161"/>
                </a:solidFill>
              </a:rPr>
              <a:t>Significance level of 0.01: The model is not statistically significant as the p-value from the F-test is greater than 0.01</a:t>
            </a:r>
            <a:endParaRPr sz="1200" u="none" dirty="0">
              <a:solidFill>
                <a:srgbClr val="61616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none" dirty="0">
                <a:solidFill>
                  <a:srgbClr val="616161"/>
                </a:solidFill>
              </a:rPr>
              <a:t>Significance level of 0.05: The model is not statistically significant as the p-value from the F-test is greater than 0.05</a:t>
            </a:r>
            <a:endParaRPr sz="1200" u="none" dirty="0">
              <a:solidFill>
                <a:srgbClr val="616161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gd5e1a0ff13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8" name="Google Shape;168;gd5e1a0ff13_0_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gd5cbbe0d27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9" name="Google Shape;179;gd5cbbe0d27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u="none" dirty="0">
                <a:solidFill>
                  <a:srgbClr val="616161"/>
                </a:solidFill>
              </a:rPr>
              <a:t>Significance level of 0.01: The model is statistically significant as the p-value from the F-test is smaller than 0.01</a:t>
            </a:r>
            <a:endParaRPr sz="1200" u="none" dirty="0">
              <a:solidFill>
                <a:srgbClr val="61616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u="none" dirty="0">
                <a:solidFill>
                  <a:srgbClr val="616161"/>
                </a:solidFill>
              </a:rPr>
              <a:t>Significance level of 0.05: The model is statistically significant as the p-value from the F-test is smaller than 0.05</a:t>
            </a:r>
            <a:endParaRPr sz="1200" u="none" dirty="0">
              <a:solidFill>
                <a:srgbClr val="616161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d5e1a0ff13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d5e1a0ff13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gd5b4d929fa_1_3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0" name="Google Shape;200;gd5b4d929fa_1_37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As previously mentioned, a training set and a test set were used to test prediction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After that, the MAPE of each model was calculated to determine the prediction erro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The MAPE of the red wine model was about 9.6% while the MAPE of the white whine model was about 10.4%</a:t>
            </a:r>
            <a:endParaRPr sz="14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Incorporating more variables into the model can further increase its prediction accuracy</a:t>
            </a:r>
            <a:endParaRPr sz="1400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d5cbbe0d27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d5cbbe0d27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u="none" dirty="0">
                <a:solidFill>
                  <a:srgbClr val="111111"/>
                </a:solidFill>
                <a:highlight>
                  <a:srgbClr val="FFFFFF"/>
                </a:highlight>
              </a:rPr>
              <a:t>Variance Inflation Factor (VIF) measures how much the behavior (variance) of an independent variable is influenced, or inflated, by its interaction/correlation with the other independent variabl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u="none" dirty="0">
                <a:solidFill>
                  <a:srgbClr val="111111"/>
                </a:solidFill>
                <a:highlight>
                  <a:srgbClr val="FFFFFF"/>
                </a:highlight>
              </a:rPr>
              <a:t>Variance Inflation Factor (VIF) allows for a quick measurement of how much a variable contributes to the standard error of the regressi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u="none" dirty="0">
              <a:solidFill>
                <a:srgbClr val="616161"/>
              </a:solidFill>
              <a:highlight>
                <a:srgbClr val="F2F2F2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dirty="0">
                <a:solidFill>
                  <a:srgbClr val="616161"/>
                </a:solidFill>
              </a:rPr>
              <a:t>With 5 as the threshold for VIF, Fixed Acidity exhibits high multicollinearity (highest VIF among all the regressors on the bar graph and greater than threshold)</a:t>
            </a:r>
            <a:endParaRPr dirty="0">
              <a:solidFill>
                <a:srgbClr val="616161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gd5cbbe0d27_0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0" name="Google Shape;220;gd5cbbe0d27_0_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u="none" dirty="0">
                <a:solidFill>
                  <a:srgbClr val="111111"/>
                </a:solidFill>
                <a:highlight>
                  <a:srgbClr val="FFFFFF"/>
                </a:highlight>
              </a:rPr>
              <a:t>Variance Inflation Factor (VIF) measures how much the behavior (variance) of an independent variable is influenced, or inflated, by its interaction/correlation with the other independent variabl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u="none" dirty="0">
                <a:solidFill>
                  <a:srgbClr val="111111"/>
                </a:solidFill>
                <a:highlight>
                  <a:srgbClr val="FFFFFF"/>
                </a:highlight>
              </a:rPr>
              <a:t>Variance Inflation Factor (VIF) allows for a quick measurement of how much a variable contributes to the standard error of the regressi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u="none" dirty="0">
              <a:solidFill>
                <a:srgbClr val="616161"/>
              </a:solidFill>
              <a:highlight>
                <a:srgbClr val="F2F2F2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>
                <a:solidFill>
                  <a:srgbClr val="616161"/>
                </a:solidFill>
              </a:rPr>
              <a:t>With 5 as the threshold for VIF, Density exhibits high multicollinearity (highest VIF among all the regressors on the bar graph and greater than threshold)</a:t>
            </a:r>
            <a:br>
              <a:rPr lang="en" dirty="0">
                <a:solidFill>
                  <a:srgbClr val="616161"/>
                </a:solidFill>
              </a:rPr>
            </a:br>
            <a:r>
              <a:rPr lang="en" dirty="0">
                <a:solidFill>
                  <a:srgbClr val="616161"/>
                </a:solidFill>
              </a:rPr>
              <a:t>Residual Sugar and Alcohol (respectively) also exhibit high </a:t>
            </a:r>
            <a:r>
              <a:rPr lang="en-US" dirty="0">
                <a:solidFill>
                  <a:srgbClr val="616161"/>
                </a:solidFill>
              </a:rPr>
              <a:t>multicollinearity (VIF greater than threshold)</a:t>
            </a:r>
            <a:endParaRPr dirty="0">
              <a:solidFill>
                <a:srgbClr val="616161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d5b4d929f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d5b4d929f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d5d5ce29c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Google Shape;233;gd5d5ce29c8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d5d5ce29c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d5d5ce29c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US" dirty="0">
              <a:solidFill>
                <a:schemeClr val="dk1"/>
              </a:solidFill>
              <a:highlight>
                <a:srgbClr val="F2F2F2"/>
              </a:highlight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gd5e1a0ff13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5" name="Google Shape;255;gd5e1a0ff13_0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d39d2dd9d7_1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d39d2dd9d7_1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gd5b4d929fa_1_3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8" name="Google Shape;278;gd5b4d929fa_1_3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gd5b4d929fa_1_4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5" name="Google Shape;285;gd5b4d929fa_1_40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d123f9c9a5_0_2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" name="Google Shape;71;gd123f9c9a5_0_2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50" dirty="0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Once viewed as a luxury good, wine is now enjoyed by a wide range of consumer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50" dirty="0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Portugal is a top ten wine exporting </a:t>
            </a:r>
            <a:r>
              <a:rPr lang="en" sz="1350" dirty="0" err="1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countr</a:t>
            </a:r>
            <a:r>
              <a:rPr lang="en" sz="1350" dirty="0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 (3.17% of the global market share in 2005)</a:t>
            </a:r>
            <a:endParaRPr sz="1350" dirty="0">
              <a:solidFill>
                <a:srgbClr val="2E2E2E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50" dirty="0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Exports of its </a:t>
            </a:r>
            <a:r>
              <a:rPr lang="en" sz="1350" i="1" dirty="0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vinho </a:t>
            </a:r>
            <a:r>
              <a:rPr lang="en" sz="1350" i="1" dirty="0" err="1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verde</a:t>
            </a:r>
            <a:r>
              <a:rPr lang="en" sz="1350" dirty="0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 wine (from the northwest region) have increased by 36% from 1997 to 200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50" dirty="0">
                <a:solidFill>
                  <a:srgbClr val="2E2E2E"/>
                </a:solidFill>
                <a:latin typeface="Georgia"/>
                <a:ea typeface="Georgia"/>
                <a:cs typeface="Georgia"/>
                <a:sym typeface="Georgia"/>
              </a:rPr>
              <a:t>To support growth, the wine industry is investing in new technologies for both wine making and selling processes</a:t>
            </a:r>
            <a:endParaRPr sz="1350" dirty="0">
              <a:solidFill>
                <a:srgbClr val="2E2E2E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gd5b4d929fa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9" name="Google Shape;79;gd5b4d929fa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d5d5ce29c8_0_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d5d5ce29c8_0_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rgbClr val="202124"/>
              </a:solidFill>
              <a:highlight>
                <a:srgbClr val="FFFFFF"/>
              </a:highlight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gd5d5ce29c8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" name="Google Shape;99;gd5d5ce29c8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d5d5ce29c8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d5d5ce29c8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d5d5ce29c8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2" name="Google Shape;112;gd5d5ce29c8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50" dirty="0">
                <a:solidFill>
                  <a:schemeClr val="dk1"/>
                </a:solidFill>
                <a:highlight>
                  <a:srgbClr val="FFFFFF"/>
                </a:highlight>
                <a:latin typeface="Lato"/>
                <a:ea typeface="Lato"/>
                <a:cs typeface="Lato"/>
                <a:sym typeface="Lato"/>
              </a:rPr>
              <a:t>Malolactic fermentation (MLF) is a secondary fermentation caused by malolactic bacteria that converts the stronger and harsher malic acid into the softer lactic aci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50" dirty="0">
                <a:solidFill>
                  <a:schemeClr val="dk1"/>
                </a:solidFill>
                <a:highlight>
                  <a:srgbClr val="FFFFFF"/>
                </a:highlight>
                <a:latin typeface="Lato"/>
                <a:ea typeface="Lato"/>
                <a:cs typeface="Lato"/>
                <a:sym typeface="Lato"/>
              </a:rPr>
              <a:t>MLF is not usually used to raise a wine’s pH, but rather, to make a desired style of wine, for example, a wine with softer acidity</a:t>
            </a:r>
            <a:endParaRPr sz="1400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d5b4d929fa_1_3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d5b4d929fa_1_3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otal of 1599 columns for red wine data and 4898 for white win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eparated data into training and test sets for each wine.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oogle Shape;10;p2"/>
          <p:cNvCxnSpPr/>
          <p:nvPr/>
        </p:nvCxnSpPr>
        <p:spPr>
          <a:xfrm>
            <a:off x="0" y="2998150"/>
            <a:ext cx="91440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510450" y="1257300"/>
            <a:ext cx="8123100" cy="1588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510450" y="3182313"/>
            <a:ext cx="8123100" cy="63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1"/>
          <p:cNvSpPr/>
          <p:nvPr/>
        </p:nvSpPr>
        <p:spPr>
          <a:xfrm>
            <a:off x="0" y="5045700"/>
            <a:ext cx="9144000" cy="9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50;p11"/>
          <p:cNvSpPr txBox="1">
            <a:spLocks noGrp="1"/>
          </p:cNvSpPr>
          <p:nvPr>
            <p:ph type="title" hasCustomPrompt="1"/>
          </p:nvPr>
        </p:nvSpPr>
        <p:spPr>
          <a:xfrm>
            <a:off x="311700" y="991475"/>
            <a:ext cx="8520600" cy="191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2pPr>
            <a:lvl3pPr lvl="2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3pPr>
            <a:lvl4pPr lvl="3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4pPr>
            <a:lvl5pPr lvl="4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5pPr>
            <a:lvl6pPr lvl="5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6pPr>
            <a:lvl7pPr lvl="6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7pPr>
            <a:lvl8pPr lvl="7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8pPr>
            <a:lvl9pPr lvl="8" algn="ctr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9pPr>
          </a:lstStyle>
          <a:p>
            <a:r>
              <a:t>xx%</a:t>
            </a:r>
          </a:p>
        </p:txBody>
      </p:sp>
      <p:sp>
        <p:nvSpPr>
          <p:cNvPr id="51" name="Google Shape;51;p11"/>
          <p:cNvSpPr txBox="1">
            <a:spLocks noGrp="1"/>
          </p:cNvSpPr>
          <p:nvPr>
            <p:ph type="body" idx="1"/>
          </p:nvPr>
        </p:nvSpPr>
        <p:spPr>
          <a:xfrm>
            <a:off x="311700" y="3071300"/>
            <a:ext cx="8520600" cy="90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2" name="Google Shape;52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Google Shape;15;p3"/>
          <p:cNvCxnSpPr/>
          <p:nvPr/>
        </p:nvCxnSpPr>
        <p:spPr>
          <a:xfrm>
            <a:off x="0" y="2998150"/>
            <a:ext cx="91440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510450" y="2057400"/>
            <a:ext cx="8123100" cy="778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/>
          <p:nvPr/>
        </p:nvSpPr>
        <p:spPr>
          <a:xfrm>
            <a:off x="0" y="5045700"/>
            <a:ext cx="9144000" cy="9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solidFill>
          <a:schemeClr val="lt2"/>
        </a:solid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490250" y="526350"/>
            <a:ext cx="57975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7" name="Google Shape;37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9"/>
          <p:cNvSpPr/>
          <p:nvPr/>
        </p:nvSpPr>
        <p:spPr>
          <a:xfrm>
            <a:off x="4572000" y="75"/>
            <a:ext cx="4572000" cy="51435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0" name="Google Shape;40;p9"/>
          <p:cNvCxnSpPr/>
          <p:nvPr/>
        </p:nvCxnSpPr>
        <p:spPr>
          <a:xfrm>
            <a:off x="5029675" y="4495500"/>
            <a:ext cx="4683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41;p9"/>
          <p:cNvSpPr txBox="1">
            <a:spLocks noGrp="1"/>
          </p:cNvSpPr>
          <p:nvPr>
            <p:ph type="title"/>
          </p:nvPr>
        </p:nvSpPr>
        <p:spPr>
          <a:xfrm>
            <a:off x="265500" y="1205825"/>
            <a:ext cx="4045200" cy="15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ubTitle" idx="1"/>
          </p:nvPr>
        </p:nvSpPr>
        <p:spPr>
          <a:xfrm>
            <a:off x="265500" y="2769001"/>
            <a:ext cx="4045200" cy="134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3" name="Google Shape;43;p9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"/>
          <p:cNvSpPr txBox="1">
            <a:spLocks noGrp="1"/>
          </p:cNvSpPr>
          <p:nvPr>
            <p:ph type="body" idx="1"/>
          </p:nvPr>
        </p:nvSpPr>
        <p:spPr>
          <a:xfrm>
            <a:off x="311700" y="4236825"/>
            <a:ext cx="5998800" cy="59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pearmin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0E5183-B0DC-F741-D470-0512A053AB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218127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algn="r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35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4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46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50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Relationship Id="rId9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image" Target="../media/image56.png"/><Relationship Id="rId5" Type="http://schemas.openxmlformats.org/officeDocument/2006/relationships/image" Target="../media/image55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6" Type="http://schemas.openxmlformats.org/officeDocument/2006/relationships/image" Target="../media/image36.png"/><Relationship Id="rId5" Type="http://schemas.openxmlformats.org/officeDocument/2006/relationships/image" Target="../media/image58.emf"/><Relationship Id="rId4" Type="http://schemas.openxmlformats.org/officeDocument/2006/relationships/oleObject" Target="../embeddings/oleObject2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6" Type="http://schemas.openxmlformats.org/officeDocument/2006/relationships/image" Target="../media/image40.png"/><Relationship Id="rId5" Type="http://schemas.openxmlformats.org/officeDocument/2006/relationships/image" Target="../media/image59.emf"/><Relationship Id="rId4" Type="http://schemas.openxmlformats.org/officeDocument/2006/relationships/oleObject" Target="../embeddings/oleObject23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tore.ac.uk/srme/www/fac/soc/wie/research-new/srme/modules/mod3/3/index.html" TargetMode="External"/><Relationship Id="rId3" Type="http://schemas.openxmlformats.org/officeDocument/2006/relationships/notesSlide" Target="../notesSlides/notesSlide24.xml"/><Relationship Id="rId7" Type="http://schemas.openxmlformats.org/officeDocument/2006/relationships/hyperlink" Target="https://www.sciencedirect.com/science/article/pii/S0167923609001377?via%3Dihub" TargetMode="External"/><Relationship Id="rId12" Type="http://schemas.openxmlformats.org/officeDocument/2006/relationships/hyperlink" Target="https://www.statisticssolutions.com/assumptions-of-multiple-linear-regression/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hyperlink" Target="https://archive.ics.uci.edu/ml/datasets/Wine+Quality" TargetMode="External"/><Relationship Id="rId11" Type="http://schemas.openxmlformats.org/officeDocument/2006/relationships/hyperlink" Target="https://winemakermag.com/article/547-phiguring-out-ph" TargetMode="External"/><Relationship Id="rId5" Type="http://schemas.openxmlformats.org/officeDocument/2006/relationships/image" Target="../media/image60.emf"/><Relationship Id="rId10" Type="http://schemas.openxmlformats.org/officeDocument/2006/relationships/hyperlink" Target="https://winemakermag.com/technique/1650-monitoring-adjusting-ph" TargetMode="External"/><Relationship Id="rId4" Type="http://schemas.openxmlformats.org/officeDocument/2006/relationships/oleObject" Target="../embeddings/oleObject24.bin"/><Relationship Id="rId9" Type="http://schemas.openxmlformats.org/officeDocument/2006/relationships/hyperlink" Target="https://www.wineperspective.com/wine-acidity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5" Type="http://schemas.openxmlformats.org/officeDocument/2006/relationships/image" Target="../media/image6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FEB6881-1EC6-541F-7A66-D8D9C85D0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6653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Google Shape;59;p13"/>
          <p:cNvSpPr txBox="1">
            <a:spLocks noGrp="1"/>
          </p:cNvSpPr>
          <p:nvPr>
            <p:ph type="ctrTitle"/>
          </p:nvPr>
        </p:nvSpPr>
        <p:spPr>
          <a:xfrm>
            <a:off x="761725" y="967800"/>
            <a:ext cx="7320000" cy="1872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b="1" dirty="0">
                <a:latin typeface="Courier New"/>
                <a:ea typeface="Courier New"/>
                <a:cs typeface="Courier New"/>
                <a:sym typeface="Courier New"/>
              </a:rPr>
              <a:t>Modeling Wine Preferences via Data Mining</a:t>
            </a:r>
            <a:endParaRPr sz="2000" dirty="0"/>
          </a:p>
        </p:txBody>
      </p:sp>
      <p:sp>
        <p:nvSpPr>
          <p:cNvPr id="60" name="Google Shape;60;p13"/>
          <p:cNvSpPr txBox="1">
            <a:spLocks noGrp="1"/>
          </p:cNvSpPr>
          <p:nvPr>
            <p:ph type="subTitle" idx="1"/>
          </p:nvPr>
        </p:nvSpPr>
        <p:spPr>
          <a:xfrm>
            <a:off x="761725" y="3243400"/>
            <a:ext cx="1599812" cy="39034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dirty="0">
                <a:latin typeface="Courier New"/>
                <a:ea typeface="Courier New"/>
                <a:cs typeface="Courier New"/>
                <a:sym typeface="Courier New"/>
              </a:rPr>
              <a:t>Dev Misra</a:t>
            </a:r>
            <a:endParaRPr sz="1900" dirty="0">
              <a:latin typeface="Courier New"/>
              <a:ea typeface="Courier New"/>
              <a:cs typeface="Courier New"/>
              <a:sym typeface="Courier New"/>
            </a:endParaRPr>
          </a:p>
        </p:txBody>
      </p:sp>
      <p:sp>
        <p:nvSpPr>
          <p:cNvPr id="61" name="Google Shape;61;p1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</a:t>
            </a:fld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71AEF2D-2090-8304-14E3-BB1BBF7805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2688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Google Shape;130;p22"/>
          <p:cNvSpPr txBox="1">
            <a:spLocks noGrp="1"/>
          </p:cNvSpPr>
          <p:nvPr>
            <p:ph type="body" idx="1"/>
          </p:nvPr>
        </p:nvSpPr>
        <p:spPr>
          <a:xfrm>
            <a:off x="549603" y="1665755"/>
            <a:ext cx="5829300" cy="272336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927418" lvl="1">
              <a:buSzPct val="100000"/>
              <a:buFont typeface="Arial" panose="020B0604020202020204" pitchFamily="34" charset="0"/>
              <a:buChar char="•"/>
            </a:pPr>
            <a:r>
              <a:rPr lang="en" b="1" dirty="0">
                <a:solidFill>
                  <a:schemeClr val="bg2"/>
                </a:solidFill>
              </a:rPr>
              <a:t>L</a:t>
            </a:r>
            <a:r>
              <a:rPr lang="en" dirty="0"/>
              <a:t>inearity</a:t>
            </a:r>
          </a:p>
          <a:p>
            <a:pPr marL="1384618" lvl="2">
              <a:buSzPct val="100000"/>
              <a:buFont typeface="Arial" panose="020B0604020202020204" pitchFamily="34" charset="0"/>
              <a:buChar char="•"/>
            </a:pPr>
            <a:r>
              <a:rPr lang="en" sz="1100" dirty="0"/>
              <a:t>Relationship between dependent and independent variables is linear</a:t>
            </a:r>
            <a:br>
              <a:rPr lang="en" sz="1100" dirty="0"/>
            </a:br>
            <a:endParaRPr lang="en" sz="1050" dirty="0"/>
          </a:p>
          <a:p>
            <a:pPr marL="927418" lvl="1">
              <a:buSzPct val="100000"/>
              <a:buFont typeface="Arial" panose="020B0604020202020204" pitchFamily="34" charset="0"/>
              <a:buChar char="•"/>
            </a:pPr>
            <a:r>
              <a:rPr lang="en" b="1" dirty="0">
                <a:solidFill>
                  <a:schemeClr val="bg2"/>
                </a:solidFill>
              </a:rPr>
              <a:t>I</a:t>
            </a:r>
            <a:r>
              <a:rPr lang="en" dirty="0"/>
              <a:t>ndependence of Errors</a:t>
            </a:r>
          </a:p>
          <a:p>
            <a:pPr marL="1371600" lvl="2" indent="-31343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No correlation between consecutive residuals</a:t>
            </a:r>
          </a:p>
          <a:p>
            <a:pPr marL="1371600" lvl="2" indent="-31343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Each independent variable can be tested using VIF values</a:t>
            </a:r>
            <a:endParaRPr lang="en" sz="1100" dirty="0"/>
          </a:p>
          <a:p>
            <a:pPr marL="1058163" lvl="2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endParaRPr lang="en" sz="1200" dirty="0"/>
          </a:p>
          <a:p>
            <a:pPr lvl="1" indent="-313437">
              <a:buSzPct val="100000"/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2"/>
                </a:solidFill>
              </a:rPr>
              <a:t>N</a:t>
            </a:r>
            <a:r>
              <a:rPr lang="en-US" dirty="0"/>
              <a:t>ormality of Error</a:t>
            </a:r>
          </a:p>
          <a:p>
            <a:pPr marL="1371600" lvl="2" indent="-31343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Residuals are normally distributed</a:t>
            </a:r>
            <a:br>
              <a:rPr lang="en-US" sz="1100" dirty="0"/>
            </a:br>
            <a:endParaRPr sz="1100" dirty="0"/>
          </a:p>
          <a:p>
            <a:pPr marL="914400" lvl="1" indent="-31343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b="1" dirty="0">
                <a:solidFill>
                  <a:schemeClr val="bg2"/>
                </a:solidFill>
              </a:rPr>
              <a:t>E</a:t>
            </a:r>
            <a:r>
              <a:rPr lang="en" dirty="0"/>
              <a:t>qual Variance</a:t>
            </a:r>
            <a:endParaRPr dirty="0"/>
          </a:p>
          <a:p>
            <a:pPr marL="1371600" lvl="2" indent="-31343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100" dirty="0"/>
              <a:t>Residuals have a constant variance at every level of x</a:t>
            </a:r>
            <a:endParaRPr sz="1050" dirty="0"/>
          </a:p>
        </p:txBody>
      </p:sp>
      <p:sp>
        <p:nvSpPr>
          <p:cNvPr id="131" name="Google Shape;131;p22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pic>
        <p:nvPicPr>
          <p:cNvPr id="132" name="Google Shape;132;p22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140798" y="3879012"/>
            <a:ext cx="2880360" cy="457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3" name="Google Shape;133;p2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140798" y="3202803"/>
            <a:ext cx="2880360" cy="4572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9579046B-6FDF-494F-3DAC-E5B41CC30590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Assumptions for Regression</a:t>
            </a:r>
            <a:endParaRPr lang="en-US" b="1" dirty="0"/>
          </a:p>
        </p:txBody>
      </p:sp>
      <p:sp>
        <p:nvSpPr>
          <p:cNvPr id="8" name="Google Shape;130;p22">
            <a:extLst>
              <a:ext uri="{FF2B5EF4-FFF2-40B4-BE49-F238E27FC236}">
                <a16:creationId xmlns:a16="http://schemas.microsoft.com/office/drawing/2014/main" id="{7CB33EC6-7190-4AC9-D98C-633A659D8368}"/>
              </a:ext>
            </a:extLst>
          </p:cNvPr>
          <p:cNvSpPr txBox="1">
            <a:spLocks/>
          </p:cNvSpPr>
          <p:nvPr/>
        </p:nvSpPr>
        <p:spPr>
          <a:xfrm>
            <a:off x="298240" y="867887"/>
            <a:ext cx="8520599" cy="869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470218">
              <a:buSzPct val="100000"/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chemeClr val="bg2"/>
                </a:solidFill>
              </a:rPr>
              <a:t>L.I.N.E.</a:t>
            </a:r>
            <a:r>
              <a:rPr lang="en-US" sz="1700" dirty="0"/>
              <a:t> assumptions/conditions must be met within both datasets to draw inferences from or make predictions from the model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0A3FBAE-7081-849D-CBEC-C4FD7987DC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7125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Google Shape;139;p23"/>
          <p:cNvSpPr txBox="1">
            <a:spLocks noGrp="1"/>
          </p:cNvSpPr>
          <p:nvPr>
            <p:ph type="body" idx="1"/>
          </p:nvPr>
        </p:nvSpPr>
        <p:spPr>
          <a:xfrm>
            <a:off x="309958" y="882394"/>
            <a:ext cx="3465643" cy="442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Linearity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00B050"/>
                </a:solidFill>
              </a:rPr>
              <a:t>No significant U-shape in “Residuals vs Fitted”</a:t>
            </a:r>
            <a:br>
              <a:rPr lang="en" sz="1300" dirty="0">
                <a:solidFill>
                  <a:srgbClr val="00B050"/>
                </a:solidFill>
              </a:rPr>
            </a:br>
            <a:endParaRPr lang="en" sz="1300" dirty="0">
              <a:solidFill>
                <a:srgbClr val="00B050"/>
              </a:solidFill>
            </a:endParaRPr>
          </a:p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Independence of Errors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00B050"/>
                </a:solidFill>
              </a:rPr>
              <a:t>No cyclical patterns in “Residuals vs Leverage”</a:t>
            </a:r>
            <a:br>
              <a:rPr lang="en" sz="1300" dirty="0">
                <a:solidFill>
                  <a:srgbClr val="00B050"/>
                </a:solidFill>
              </a:rPr>
            </a:br>
            <a:endParaRPr lang="en" sz="1300" dirty="0">
              <a:solidFill>
                <a:srgbClr val="00B050"/>
              </a:solidFill>
            </a:endParaRPr>
          </a:p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Normality of Error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00B050"/>
                </a:solidFill>
              </a:rPr>
              <a:t>Residuals are normally distr</a:t>
            </a:r>
            <a:r>
              <a:rPr lang="en-US" sz="1300" dirty="0">
                <a:solidFill>
                  <a:srgbClr val="00B050"/>
                </a:solidFill>
              </a:rPr>
              <a:t>i</a:t>
            </a:r>
            <a:r>
              <a:rPr lang="en" sz="1300" dirty="0">
                <a:solidFill>
                  <a:srgbClr val="00B050"/>
                </a:solidFill>
              </a:rPr>
              <a:t>buted in “Normal Q-Q”</a:t>
            </a:r>
            <a:br>
              <a:rPr lang="en" sz="1300" dirty="0">
                <a:solidFill>
                  <a:srgbClr val="00B050"/>
                </a:solidFill>
              </a:rPr>
            </a:br>
            <a:endParaRPr lang="en" sz="1300" dirty="0">
              <a:solidFill>
                <a:srgbClr val="00B050"/>
              </a:solidFill>
            </a:endParaRPr>
          </a:p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Equal Variance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FF0000"/>
                </a:solidFill>
              </a:rPr>
              <a:t>Inconsistent variance in “Scale-Location”</a:t>
            </a:r>
            <a:endParaRPr lang="en-US" sz="1300" dirty="0">
              <a:solidFill>
                <a:srgbClr val="FF0000"/>
              </a:solidFill>
            </a:endParaRPr>
          </a:p>
        </p:txBody>
      </p:sp>
      <p:sp>
        <p:nvSpPr>
          <p:cNvPr id="144" name="Google Shape;144;p2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pic>
        <p:nvPicPr>
          <p:cNvPr id="140" name="Google Shape;140;p2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735158" y="962762"/>
            <a:ext cx="2286000" cy="1828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1" name="Google Shape;141;p2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303617" y="1006307"/>
            <a:ext cx="2286000" cy="1828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2" name="Google Shape;142;p2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303617" y="2936504"/>
            <a:ext cx="2286000" cy="1828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3" name="Google Shape;143;p23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735158" y="2936504"/>
            <a:ext cx="2286000" cy="18288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850803F3-AAA8-56DE-8320-6948BB38460B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Red Wine Assumptions</a:t>
            </a:r>
            <a:endParaRPr lang="en-US" b="1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D6C4899-F24D-387D-D9A9-007DF7F6C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5971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0" name="Google Shape;150;p2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581760" y="1019760"/>
            <a:ext cx="2286000" cy="1828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1" name="Google Shape;151;p2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295760" y="1019760"/>
            <a:ext cx="2286000" cy="1828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2" name="Google Shape;152;p24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295760" y="2945996"/>
            <a:ext cx="2286000" cy="1828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3" name="Google Shape;153;p24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581760" y="2945996"/>
            <a:ext cx="2286000" cy="1828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39;p23">
            <a:extLst>
              <a:ext uri="{FF2B5EF4-FFF2-40B4-BE49-F238E27FC236}">
                <a16:creationId xmlns:a16="http://schemas.microsoft.com/office/drawing/2014/main" id="{D174B5FD-264A-4BC3-982F-037B8346007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09958" y="882394"/>
            <a:ext cx="3465643" cy="442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Linearity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00B050"/>
                </a:solidFill>
              </a:rPr>
              <a:t>No significant U-shape in “Residuals vs Fitted”</a:t>
            </a:r>
            <a:br>
              <a:rPr lang="en" sz="1300" dirty="0">
                <a:solidFill>
                  <a:srgbClr val="00B050"/>
                </a:solidFill>
              </a:rPr>
            </a:br>
            <a:endParaRPr lang="en" sz="1300" dirty="0">
              <a:solidFill>
                <a:srgbClr val="00B050"/>
              </a:solidFill>
            </a:endParaRPr>
          </a:p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Independence of Errors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00B050"/>
                </a:solidFill>
              </a:rPr>
              <a:t>No cyclical patterns in “Residuals vs Leverage”</a:t>
            </a:r>
            <a:br>
              <a:rPr lang="en" sz="1300" dirty="0">
                <a:solidFill>
                  <a:srgbClr val="00B050"/>
                </a:solidFill>
              </a:rPr>
            </a:br>
            <a:endParaRPr lang="en" sz="1300" dirty="0">
              <a:solidFill>
                <a:srgbClr val="00B050"/>
              </a:solidFill>
            </a:endParaRPr>
          </a:p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Normality of Error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00B050"/>
                </a:solidFill>
              </a:rPr>
              <a:t>Residuals are normally distr</a:t>
            </a:r>
            <a:r>
              <a:rPr lang="en-US" sz="1300" dirty="0">
                <a:solidFill>
                  <a:srgbClr val="00B050"/>
                </a:solidFill>
              </a:rPr>
              <a:t>i</a:t>
            </a:r>
            <a:r>
              <a:rPr lang="en" sz="1300" dirty="0">
                <a:solidFill>
                  <a:srgbClr val="00B050"/>
                </a:solidFill>
              </a:rPr>
              <a:t>buted in “Normal Q-Q”</a:t>
            </a:r>
            <a:br>
              <a:rPr lang="en" sz="1300" dirty="0">
                <a:solidFill>
                  <a:srgbClr val="00B050"/>
                </a:solidFill>
              </a:rPr>
            </a:br>
            <a:endParaRPr lang="en" sz="1300" dirty="0">
              <a:solidFill>
                <a:srgbClr val="00B050"/>
              </a:solidFill>
            </a:endParaRPr>
          </a:p>
          <a:p>
            <a:pPr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Equal Variance</a:t>
            </a:r>
          </a:p>
          <a:p>
            <a:pPr lvl="1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>
                <a:solidFill>
                  <a:srgbClr val="FF0000"/>
                </a:solidFill>
              </a:rPr>
              <a:t>Inconsistent variance in “Scale-Location”</a:t>
            </a:r>
            <a:endParaRPr lang="en-US" sz="1300" dirty="0">
              <a:solidFill>
                <a:srgbClr val="FF0000"/>
              </a:solidFill>
            </a:endParaRPr>
          </a:p>
        </p:txBody>
      </p:sp>
      <p:sp>
        <p:nvSpPr>
          <p:cNvPr id="155" name="Google Shape;155;p2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2</a:t>
            </a:fld>
            <a:endParaRPr/>
          </a:p>
        </p:txBody>
      </p:sp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86B18B7C-BDF5-F48D-0F06-99994CD81702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White Wine Assumptions</a:t>
            </a:r>
            <a:endParaRPr lang="en-US" b="1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86A831-B0DE-2FF6-F965-C6739196D7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2597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" name="Google Shape;161;p25"/>
          <p:cNvSpPr txBox="1">
            <a:spLocks noGrp="1"/>
          </p:cNvSpPr>
          <p:nvPr>
            <p:ph type="body" idx="1"/>
          </p:nvPr>
        </p:nvSpPr>
        <p:spPr>
          <a:xfrm>
            <a:off x="302991" y="858855"/>
            <a:ext cx="4415854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Adjusted R-Squared: 0.3098</a:t>
            </a:r>
            <a:br>
              <a:rPr lang="en" sz="1700" dirty="0"/>
            </a:br>
            <a:endParaRPr sz="800" dirty="0"/>
          </a:p>
          <a:p>
            <a:pPr lvl="1" algn="l" rtl="0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•"/>
            </a:pPr>
            <a:r>
              <a:rPr lang="en" sz="1300" dirty="0"/>
              <a:t>A low adjusted R-squared indicates that the additional input variables are not adding value to the model</a:t>
            </a:r>
            <a:endParaRPr sz="1300" dirty="0"/>
          </a:p>
          <a:p>
            <a:pPr lvl="1" algn="l" rtl="0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•"/>
            </a:pPr>
            <a:r>
              <a:rPr lang="en" sz="1300" dirty="0"/>
              <a:t>Currently, the red wine model is a bad fit</a:t>
            </a:r>
            <a:br>
              <a:rPr lang="en" sz="1300" dirty="0"/>
            </a:br>
            <a:endParaRPr lang="en" sz="13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Significance at </a:t>
            </a:r>
            <a:r>
              <a:rPr lang="el-GR" sz="1700" dirty="0"/>
              <a:t>α</a:t>
            </a:r>
            <a:r>
              <a:rPr lang="en-US" sz="1700" dirty="0"/>
              <a:t> = </a:t>
            </a:r>
            <a:r>
              <a:rPr lang="en" sz="1700" dirty="0"/>
              <a:t>0.05</a:t>
            </a:r>
            <a:br>
              <a:rPr lang="en" sz="2100" dirty="0"/>
            </a:br>
            <a:endParaRPr sz="1200" dirty="0"/>
          </a:p>
          <a:p>
            <a:pPr lvl="1">
              <a:buSzPct val="100000"/>
              <a:buFont typeface="Arial" panose="020B0604020202020204" pitchFamily="34" charset="0"/>
              <a:buChar char="•"/>
            </a:pPr>
            <a:r>
              <a:rPr lang="en" sz="1300" dirty="0"/>
              <a:t>The model is not statistically significant at </a:t>
            </a:r>
            <a:r>
              <a:rPr lang="el-GR" sz="1300" dirty="0"/>
              <a:t>α = 0.05</a:t>
            </a:r>
            <a:r>
              <a:rPr lang="en-US" sz="1300" dirty="0"/>
              <a:t>,</a:t>
            </a:r>
            <a:r>
              <a:rPr lang="en" sz="1300" dirty="0"/>
              <a:t> as the p-value from the model is 0.6358, which is greater than 0.05</a:t>
            </a:r>
            <a:endParaRPr sz="1300" dirty="0"/>
          </a:p>
        </p:txBody>
      </p:sp>
      <p:sp>
        <p:nvSpPr>
          <p:cNvPr id="163" name="Google Shape;163;p25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CB8B38-A74D-4D52-B94E-777F55B6FF99}"/>
              </a:ext>
            </a:extLst>
          </p:cNvPr>
          <p:cNvGrpSpPr/>
          <p:nvPr/>
        </p:nvGrpSpPr>
        <p:grpSpPr>
          <a:xfrm>
            <a:off x="4951389" y="817821"/>
            <a:ext cx="4046380" cy="3793004"/>
            <a:chOff x="4725275" y="491613"/>
            <a:chExt cx="4372076" cy="4160274"/>
          </a:xfrm>
        </p:grpSpPr>
        <p:pic>
          <p:nvPicPr>
            <p:cNvPr id="162" name="Google Shape;162;p25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4725275" y="491613"/>
              <a:ext cx="4372076" cy="416027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4" name="Google Shape;164;p25"/>
            <p:cNvSpPr/>
            <p:nvPr/>
          </p:nvSpPr>
          <p:spPr>
            <a:xfrm>
              <a:off x="7980871" y="2060854"/>
              <a:ext cx="498818" cy="149174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65" name="Google Shape;165;p25"/>
            <p:cNvSpPr/>
            <p:nvPr/>
          </p:nvSpPr>
          <p:spPr>
            <a:xfrm>
              <a:off x="6637000" y="4361540"/>
              <a:ext cx="1715700" cy="156600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" name="Google Shape;66;p14">
            <a:extLst>
              <a:ext uri="{FF2B5EF4-FFF2-40B4-BE49-F238E27FC236}">
                <a16:creationId xmlns:a16="http://schemas.microsoft.com/office/drawing/2014/main" id="{6457C79F-D2FE-E07A-F41A-AF87601FE44C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Model Fitness – Red Wine</a:t>
            </a:r>
            <a:endParaRPr lang="en-US" b="1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CF0DD85-A0A6-F3D0-A2A2-675F4945E0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4527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Google Shape;175;p26"/>
          <p:cNvSpPr txBox="1">
            <a:spLocks noGrp="1"/>
          </p:cNvSpPr>
          <p:nvPr>
            <p:ph type="body" idx="1"/>
          </p:nvPr>
        </p:nvSpPr>
        <p:spPr>
          <a:xfrm>
            <a:off x="309696" y="898841"/>
            <a:ext cx="4897634" cy="370343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" sz="1600" dirty="0"/>
              <a:t>Best regressor(s) to incorporate into model:</a:t>
            </a:r>
            <a:br>
              <a:rPr lang="en" sz="1400" dirty="0"/>
            </a:br>
            <a:endParaRPr lang="en" sz="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" sz="1200" dirty="0"/>
              <a:t>Used </a:t>
            </a:r>
            <a:r>
              <a:rPr lang="en" sz="1200" i="1" dirty="0" err="1"/>
              <a:t>regsubsets</a:t>
            </a:r>
            <a:r>
              <a:rPr lang="en" sz="1200" i="1" dirty="0"/>
              <a:t> </a:t>
            </a:r>
            <a:r>
              <a:rPr lang="en" sz="1200" dirty="0"/>
              <a:t>{leaps}</a:t>
            </a:r>
            <a:endParaRPr lang="en-US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Fixed Acidity, Volatile Acidity, Citric Acid, Chlorides, Free Sulfur Dioxide, Total Sulfur Dioxide, Sulphates, and Alcohol </a:t>
            </a:r>
            <a:br>
              <a:rPr lang="en-US" sz="1100" dirty="0"/>
            </a:br>
            <a:endParaRPr lang="en-US" sz="18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" sz="1600" dirty="0"/>
              <a:t>Adjusted R-Squared: 0.312</a:t>
            </a:r>
            <a:br>
              <a:rPr lang="en" sz="1400" dirty="0"/>
            </a:br>
            <a:endParaRPr sz="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" sz="1200" dirty="0"/>
              <a:t>Compared to the original values, the relatively higher Adjusted R-Squared indicates the regressors can add more value to the model</a:t>
            </a:r>
            <a:br>
              <a:rPr lang="en" sz="1100" dirty="0"/>
            </a:br>
            <a:endParaRPr lang="en" sz="18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Significance at </a:t>
            </a:r>
            <a:r>
              <a:rPr lang="el-GR" sz="1600" dirty="0"/>
              <a:t>α</a:t>
            </a:r>
            <a:r>
              <a:rPr lang="en-US" sz="1600" dirty="0"/>
              <a:t> = 0.05</a:t>
            </a:r>
            <a:br>
              <a:rPr lang="en" sz="1400" dirty="0"/>
            </a:br>
            <a:endParaRPr sz="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" sz="1200" dirty="0"/>
              <a:t>The model is statistically significant at </a:t>
            </a:r>
            <a:r>
              <a:rPr lang="el-GR" sz="1200" dirty="0"/>
              <a:t>α = 0.05</a:t>
            </a:r>
            <a:r>
              <a:rPr lang="en" sz="1200" dirty="0"/>
              <a:t>, as the p-value from the model is 2e-16, which is less than 0.05</a:t>
            </a:r>
            <a:endParaRPr sz="1200" dirty="0"/>
          </a:p>
        </p:txBody>
      </p:sp>
      <p:sp>
        <p:nvSpPr>
          <p:cNvPr id="170" name="Google Shape;170;p2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4</a:t>
            </a:fld>
            <a:endParaRPr/>
          </a:p>
        </p:txBody>
      </p:sp>
      <p:sp>
        <p:nvSpPr>
          <p:cNvPr id="4" name="Google Shape;66;p14">
            <a:extLst>
              <a:ext uri="{FF2B5EF4-FFF2-40B4-BE49-F238E27FC236}">
                <a16:creationId xmlns:a16="http://schemas.microsoft.com/office/drawing/2014/main" id="{43F2E2C9-D693-0F4B-EDD2-E7E275515C22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4887317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Improved Red Wine Model</a:t>
            </a:r>
            <a:endParaRPr lang="en-US" b="1" dirty="0"/>
          </a:p>
        </p:txBody>
      </p:sp>
      <p:pic>
        <p:nvPicPr>
          <p:cNvPr id="171" name="Google Shape;171;p26"/>
          <p:cNvPicPr preferRelativeResize="0"/>
          <p:nvPr/>
        </p:nvPicPr>
        <p:blipFill rotWithShape="1">
          <a:blip r:embed="rId6">
            <a:alphaModFix/>
          </a:blip>
          <a:srcRect t="19665"/>
          <a:stretch/>
        </p:blipFill>
        <p:spPr>
          <a:xfrm>
            <a:off x="5676258" y="242242"/>
            <a:ext cx="3063523" cy="139903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A511761-65D6-E5A8-FA15-1E43B39D2D27}"/>
              </a:ext>
            </a:extLst>
          </p:cNvPr>
          <p:cNvGrpSpPr/>
          <p:nvPr/>
        </p:nvGrpSpPr>
        <p:grpSpPr>
          <a:xfrm>
            <a:off x="5427247" y="1640563"/>
            <a:ext cx="3727263" cy="3130563"/>
            <a:chOff x="4859725" y="1681054"/>
            <a:chExt cx="3727263" cy="313056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1E1504F-A2B1-A108-5856-77CF15E07875}"/>
                </a:ext>
              </a:extLst>
            </p:cNvPr>
            <p:cNvGrpSpPr/>
            <p:nvPr/>
          </p:nvGrpSpPr>
          <p:grpSpPr>
            <a:xfrm>
              <a:off x="4859725" y="1681054"/>
              <a:ext cx="3727263" cy="3130563"/>
              <a:chOff x="4859725" y="1681054"/>
              <a:chExt cx="3727263" cy="3130563"/>
            </a:xfrm>
          </p:grpSpPr>
          <p:pic>
            <p:nvPicPr>
              <p:cNvPr id="172" name="Google Shape;172;p26"/>
              <p:cNvPicPr preferRelativeResize="0"/>
              <p:nvPr/>
            </p:nvPicPr>
            <p:blipFill>
              <a:blip r:embed="rId7">
                <a:alphaModFix/>
              </a:blip>
              <a:srcRect r="2560"/>
              <a:stretch/>
            </p:blipFill>
            <p:spPr>
              <a:xfrm>
                <a:off x="4859725" y="1681054"/>
                <a:ext cx="3727263" cy="313056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73" name="Google Shape;173;p26"/>
              <p:cNvSpPr/>
              <p:nvPr/>
            </p:nvSpPr>
            <p:spPr>
              <a:xfrm>
                <a:off x="7270124" y="3118700"/>
                <a:ext cx="404591" cy="127084"/>
              </a:xfrm>
              <a:prstGeom prst="roundRect">
                <a:avLst>
                  <a:gd name="adj" fmla="val 16667"/>
                </a:avLst>
              </a:prstGeom>
              <a:noFill/>
              <a:ln w="19050" cap="flat" cmpd="sng">
                <a:solidFill>
                  <a:srgbClr val="FF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sp>
          <p:nvSpPr>
            <p:cNvPr id="174" name="Google Shape;174;p26"/>
            <p:cNvSpPr/>
            <p:nvPr/>
          </p:nvSpPr>
          <p:spPr>
            <a:xfrm>
              <a:off x="6539584" y="4667703"/>
              <a:ext cx="895155" cy="133409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C445CB-D0A4-0AA3-EE0D-2FBF771DA4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1620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Google Shape;183;p2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273D756-559D-D4DE-2155-E028E702D322}"/>
              </a:ext>
            </a:extLst>
          </p:cNvPr>
          <p:cNvGrpSpPr/>
          <p:nvPr/>
        </p:nvGrpSpPr>
        <p:grpSpPr>
          <a:xfrm>
            <a:off x="4946979" y="817012"/>
            <a:ext cx="4050792" cy="3794760"/>
            <a:chOff x="4693825" y="592100"/>
            <a:chExt cx="4309525" cy="4100775"/>
          </a:xfrm>
        </p:grpSpPr>
        <p:pic>
          <p:nvPicPr>
            <p:cNvPr id="182" name="Google Shape;182;p27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4693825" y="592100"/>
              <a:ext cx="4309525" cy="41007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85" name="Google Shape;185;p27"/>
            <p:cNvSpPr/>
            <p:nvPr/>
          </p:nvSpPr>
          <p:spPr>
            <a:xfrm>
              <a:off x="7823704" y="2128607"/>
              <a:ext cx="548700" cy="164092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27"/>
            <p:cNvSpPr/>
            <p:nvPr/>
          </p:nvSpPr>
          <p:spPr>
            <a:xfrm>
              <a:off x="6551535" y="4406977"/>
              <a:ext cx="1715700" cy="156600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671BACEF-0619-F298-3F2F-8E1646507948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Model Fitness – White Wine</a:t>
            </a:r>
            <a:endParaRPr lang="en-US" b="1" dirty="0"/>
          </a:p>
        </p:txBody>
      </p:sp>
      <p:sp>
        <p:nvSpPr>
          <p:cNvPr id="7" name="Google Shape;161;p25">
            <a:extLst>
              <a:ext uri="{FF2B5EF4-FFF2-40B4-BE49-F238E27FC236}">
                <a16:creationId xmlns:a16="http://schemas.microsoft.com/office/drawing/2014/main" id="{300075DD-87FA-833B-BA8A-B7C3516B5C0D}"/>
              </a:ext>
            </a:extLst>
          </p:cNvPr>
          <p:cNvSpPr txBox="1">
            <a:spLocks/>
          </p:cNvSpPr>
          <p:nvPr/>
        </p:nvSpPr>
        <p:spPr>
          <a:xfrm>
            <a:off x="302991" y="858855"/>
            <a:ext cx="4415854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Adjusted R-Squared: 0.2787</a:t>
            </a:r>
            <a:br>
              <a:rPr lang="en-US" sz="1700" dirty="0"/>
            </a:br>
            <a:endParaRPr lang="en-US" sz="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dirty="0"/>
              <a:t>A low adjusted R-squared indicates that the additional input variables are not adding value to the mode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dirty="0"/>
              <a:t>Currently, the white wine model is a bad fit</a:t>
            </a:r>
            <a:br>
              <a:rPr lang="en-US" dirty="0"/>
            </a:br>
            <a:endParaRPr lang="en-US" sz="13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Significance at </a:t>
            </a:r>
            <a:r>
              <a:rPr lang="el-GR" sz="1700" dirty="0"/>
              <a:t>α</a:t>
            </a:r>
            <a:r>
              <a:rPr lang="en-US" sz="1700" dirty="0"/>
              <a:t> = 0.05</a:t>
            </a:r>
            <a:br>
              <a:rPr lang="en-US" sz="1700" dirty="0"/>
            </a:br>
            <a:endParaRPr lang="en-US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dirty="0"/>
              <a:t>The model is statistically significant at </a:t>
            </a:r>
            <a:r>
              <a:rPr lang="el-GR" sz="1300" dirty="0"/>
              <a:t>α</a:t>
            </a:r>
            <a:r>
              <a:rPr lang="en-US" sz="1300" dirty="0"/>
              <a:t> = 0.05, as the p-value from the model is 2.54e-15, which is less than 0.05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7ED8127-14B4-F391-5C2E-83502548A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8376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0CA45584-68BA-3155-8592-E88F9BE2ACEA}"/>
              </a:ext>
            </a:extLst>
          </p:cNvPr>
          <p:cNvGrpSpPr/>
          <p:nvPr/>
        </p:nvGrpSpPr>
        <p:grpSpPr>
          <a:xfrm>
            <a:off x="5422994" y="1647060"/>
            <a:ext cx="3268160" cy="3127248"/>
            <a:chOff x="4812799" y="1948350"/>
            <a:chExt cx="3268160" cy="3127248"/>
          </a:xfrm>
        </p:grpSpPr>
        <p:pic>
          <p:nvPicPr>
            <p:cNvPr id="192" name="Google Shape;192;p28"/>
            <p:cNvPicPr preferRelativeResize="0"/>
            <p:nvPr/>
          </p:nvPicPr>
          <p:blipFill>
            <a:blip r:embed="rId6">
              <a:alphaModFix/>
            </a:blip>
            <a:srcRect r="14495"/>
            <a:stretch/>
          </p:blipFill>
          <p:spPr>
            <a:xfrm>
              <a:off x="4812799" y="1948350"/>
              <a:ext cx="3268160" cy="312724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6" name="Google Shape;196;p28"/>
            <p:cNvSpPr/>
            <p:nvPr/>
          </p:nvSpPr>
          <p:spPr>
            <a:xfrm>
              <a:off x="7221681" y="3379960"/>
              <a:ext cx="404727" cy="127077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28"/>
            <p:cNvSpPr/>
            <p:nvPr/>
          </p:nvSpPr>
          <p:spPr>
            <a:xfrm>
              <a:off x="6530618" y="4928898"/>
              <a:ext cx="895143" cy="146700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1" name="Google Shape;191;p2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6</a:t>
            </a:fld>
            <a:endParaRPr/>
          </a:p>
        </p:txBody>
      </p:sp>
      <p:pic>
        <p:nvPicPr>
          <p:cNvPr id="193" name="Google Shape;193;p28"/>
          <p:cNvPicPr preferRelativeResize="0"/>
          <p:nvPr/>
        </p:nvPicPr>
        <p:blipFill rotWithShape="1">
          <a:blip r:embed="rId7">
            <a:alphaModFix/>
          </a:blip>
          <a:srcRect t="19607"/>
          <a:stretch/>
        </p:blipFill>
        <p:spPr>
          <a:xfrm>
            <a:off x="5671550" y="279094"/>
            <a:ext cx="3067396" cy="128016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09AFBCDC-56B7-5C7D-1698-C2E7B7032A65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Improved White Wine Model</a:t>
            </a:r>
            <a:endParaRPr lang="en-US" b="1" dirty="0"/>
          </a:p>
        </p:txBody>
      </p:sp>
      <p:sp>
        <p:nvSpPr>
          <p:cNvPr id="6" name="Google Shape;175;p26">
            <a:extLst>
              <a:ext uri="{FF2B5EF4-FFF2-40B4-BE49-F238E27FC236}">
                <a16:creationId xmlns:a16="http://schemas.microsoft.com/office/drawing/2014/main" id="{F15140FF-E5DB-4C25-4EAB-8572F5D75AAE}"/>
              </a:ext>
            </a:extLst>
          </p:cNvPr>
          <p:cNvSpPr txBox="1">
            <a:spLocks/>
          </p:cNvSpPr>
          <p:nvPr/>
        </p:nvSpPr>
        <p:spPr>
          <a:xfrm>
            <a:off x="309695" y="898842"/>
            <a:ext cx="4890100" cy="3535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Best regressor(s) to incorporate into model:</a:t>
            </a:r>
            <a:br>
              <a:rPr lang="en-US" sz="1600" dirty="0"/>
            </a:br>
            <a:endParaRPr lang="en-US" sz="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Used </a:t>
            </a:r>
            <a:r>
              <a:rPr lang="en-US" sz="1200" i="1" dirty="0" err="1"/>
              <a:t>regsubsets</a:t>
            </a:r>
            <a:r>
              <a:rPr lang="en-US" sz="1200" i="1" dirty="0"/>
              <a:t> </a:t>
            </a:r>
            <a:r>
              <a:rPr lang="en-US" sz="1200" dirty="0"/>
              <a:t>{leaps}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Fixed Acidity, Volatile Acidity, Residual Sugar, Free Sulfur Dioxide, Density, pH, Sulphates, and Alcohol</a:t>
            </a:r>
            <a:r>
              <a:rPr lang="en-US" sz="1100" dirty="0"/>
              <a:t> </a:t>
            </a:r>
            <a:br>
              <a:rPr lang="en-US" sz="1100" dirty="0"/>
            </a:br>
            <a:endParaRPr lang="en-US" sz="18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Adjusted R-Squared: 0.2795</a:t>
            </a:r>
            <a:br>
              <a:rPr lang="en-US" sz="1600" dirty="0"/>
            </a:br>
            <a:endParaRPr lang="en-US" sz="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Compared to the original values, the relatively higher Adjusted R-Squared indicates the regressors can add more value to the model</a:t>
            </a:r>
            <a:br>
              <a:rPr lang="en-US" sz="1100" dirty="0"/>
            </a:br>
            <a:endParaRPr lang="en-US" sz="18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Significance at </a:t>
            </a:r>
            <a:r>
              <a:rPr lang="el-GR" sz="1600" dirty="0"/>
              <a:t>α</a:t>
            </a:r>
            <a:r>
              <a:rPr lang="en-US" sz="1600" dirty="0"/>
              <a:t> = 0.05</a:t>
            </a:r>
            <a:br>
              <a:rPr lang="en-US" sz="1400" dirty="0"/>
            </a:br>
            <a:endParaRPr lang="en-US" sz="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The model is statistically significant at </a:t>
            </a:r>
            <a:r>
              <a:rPr lang="el-GR" sz="1200" dirty="0"/>
              <a:t>α = 0.05</a:t>
            </a:r>
            <a:r>
              <a:rPr lang="en-US" sz="1200" dirty="0"/>
              <a:t>, as the p-value from the model is 2e-16, which is less than 0.05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6D2AD4C-E5A1-05BF-F0B2-F09528D705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2047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3" name="Google Shape;203;p29"/>
          <p:cNvSpPr txBox="1">
            <a:spLocks noGrp="1"/>
          </p:cNvSpPr>
          <p:nvPr>
            <p:ph type="body" idx="1"/>
          </p:nvPr>
        </p:nvSpPr>
        <p:spPr>
          <a:xfrm>
            <a:off x="302991" y="860931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Mean Absolute Percentage Error </a:t>
            </a:r>
            <a:br>
              <a:rPr lang="en" sz="1700" dirty="0"/>
            </a:br>
            <a:r>
              <a:rPr lang="en" sz="1700" dirty="0"/>
              <a:t>(MAPE) is used to determine </a:t>
            </a:r>
            <a:br>
              <a:rPr lang="en" sz="1700" dirty="0"/>
            </a:br>
            <a:r>
              <a:rPr lang="en" sz="1700" dirty="0"/>
              <a:t>the prediction error of the models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MAPE of red wine model = 9.5976%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MAPE of white wine model = 10.3711%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Both models have a MAPE of &lt; 10.5%, indicating that the average unsigned percentage error for each model is very low (models are good fits)</a:t>
            </a:r>
            <a:endParaRPr sz="1700" dirty="0"/>
          </a:p>
        </p:txBody>
      </p:sp>
      <p:sp>
        <p:nvSpPr>
          <p:cNvPr id="204" name="Google Shape;204;p2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7</a:t>
            </a:fld>
            <a:endParaRPr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0B1CF6-F907-20E4-8F46-778376339086}"/>
              </a:ext>
            </a:extLst>
          </p:cNvPr>
          <p:cNvGrpSpPr/>
          <p:nvPr/>
        </p:nvGrpSpPr>
        <p:grpSpPr>
          <a:xfrm>
            <a:off x="5134946" y="983287"/>
            <a:ext cx="3886212" cy="1917388"/>
            <a:chOff x="5105388" y="1243950"/>
            <a:chExt cx="3886212" cy="1917388"/>
          </a:xfrm>
        </p:grpSpPr>
        <p:pic>
          <p:nvPicPr>
            <p:cNvPr id="205" name="Google Shape;205;p29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5105400" y="1243950"/>
              <a:ext cx="3886200" cy="10096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6" name="Google Shape;206;p29"/>
            <p:cNvPicPr preferRelativeResize="0"/>
            <p:nvPr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5105388" y="2561263"/>
              <a:ext cx="2219325" cy="60007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" name="Google Shape;66;p14">
            <a:extLst>
              <a:ext uri="{FF2B5EF4-FFF2-40B4-BE49-F238E27FC236}">
                <a16:creationId xmlns:a16="http://schemas.microsoft.com/office/drawing/2014/main" id="{70409695-B098-BC01-0A09-1F9870A6A97D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Model Evaluation</a:t>
            </a:r>
            <a:endParaRPr lang="en-US" b="1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B6F9E8-947A-9A73-D53C-F7483568E6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4193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4" name="Google Shape;214;p3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448720" y="2511425"/>
            <a:ext cx="4519475" cy="2151275"/>
          </a:xfrm>
          <a:prstGeom prst="rect">
            <a:avLst/>
          </a:prstGeom>
          <a:noFill/>
          <a:ln>
            <a:noFill/>
          </a:ln>
        </p:spPr>
      </p:pic>
      <p:sp>
        <p:nvSpPr>
          <p:cNvPr id="217" name="Google Shape;217;p30"/>
          <p:cNvSpPr txBox="1">
            <a:spLocks noGrp="1"/>
          </p:cNvSpPr>
          <p:nvPr>
            <p:ph type="body" idx="1"/>
          </p:nvPr>
        </p:nvSpPr>
        <p:spPr>
          <a:xfrm>
            <a:off x="4670108" y="827047"/>
            <a:ext cx="4076700" cy="138907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•"/>
            </a:pPr>
            <a:r>
              <a:rPr lang="en" sz="1700" dirty="0"/>
              <a:t>Threshold for VIF: 5</a:t>
            </a:r>
            <a:br>
              <a:rPr lang="en" sz="1700" dirty="0"/>
            </a:br>
            <a:endParaRPr lang="en" sz="800" dirty="0"/>
          </a:p>
          <a:p>
            <a:pPr>
              <a:buFont typeface="Arial" panose="020B0604020202020204" pitchFamily="34" charset="0"/>
              <a:buChar char="•"/>
            </a:pPr>
            <a:r>
              <a:rPr lang="en" sz="1700" dirty="0"/>
              <a:t>A variable with a higher VIF contributes more to the standard error of a regression</a:t>
            </a:r>
            <a:endParaRPr lang="en-US" sz="1300" dirty="0"/>
          </a:p>
        </p:txBody>
      </p:sp>
      <p:sp>
        <p:nvSpPr>
          <p:cNvPr id="216" name="Google Shape;216;p30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8</a:t>
            </a:fld>
            <a:endParaRPr/>
          </a:p>
        </p:txBody>
      </p:sp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FCFE1855-F560-5133-428A-D3658D6B8A8C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Variance Inflation Factor – Red Wine</a:t>
            </a:r>
            <a:endParaRPr lang="en-US" b="1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9817A39-40D9-64F2-029C-CFB52E430AE0}"/>
              </a:ext>
            </a:extLst>
          </p:cNvPr>
          <p:cNvGrpSpPr/>
          <p:nvPr/>
        </p:nvGrpSpPr>
        <p:grpSpPr>
          <a:xfrm>
            <a:off x="311700" y="865325"/>
            <a:ext cx="4010051" cy="1706425"/>
            <a:chOff x="311700" y="865325"/>
            <a:chExt cx="4010051" cy="170642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317CBEF-F8C1-DABA-3D60-640424E0E98E}"/>
                </a:ext>
              </a:extLst>
            </p:cNvPr>
            <p:cNvGrpSpPr/>
            <p:nvPr/>
          </p:nvGrpSpPr>
          <p:grpSpPr>
            <a:xfrm>
              <a:off x="311700" y="865325"/>
              <a:ext cx="4010051" cy="1095161"/>
              <a:chOff x="141225" y="990650"/>
              <a:chExt cx="4010051" cy="1095161"/>
            </a:xfrm>
          </p:grpSpPr>
          <p:pic>
            <p:nvPicPr>
              <p:cNvPr id="212" name="Google Shape;212;p30"/>
              <p:cNvPicPr preferRelativeResize="0"/>
              <p:nvPr/>
            </p:nvPicPr>
            <p:blipFill>
              <a:blip r:embed="rId7">
                <a:alphaModFix/>
              </a:blip>
              <a:stretch>
                <a:fillRect/>
              </a:stretch>
            </p:blipFill>
            <p:spPr>
              <a:xfrm>
                <a:off x="141225" y="990650"/>
                <a:ext cx="4010051" cy="1095161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15" name="Google Shape;215;p30"/>
              <p:cNvSpPr/>
              <p:nvPr/>
            </p:nvSpPr>
            <p:spPr>
              <a:xfrm>
                <a:off x="559448" y="1102497"/>
                <a:ext cx="846582" cy="253110"/>
              </a:xfrm>
              <a:prstGeom prst="roundRect">
                <a:avLst>
                  <a:gd name="adj" fmla="val 16667"/>
                </a:avLst>
              </a:prstGeom>
              <a:noFill/>
              <a:ln w="28575" cap="flat" cmpd="sng">
                <a:solidFill>
                  <a:srgbClr val="FF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pic>
          <p:nvPicPr>
            <p:cNvPr id="213" name="Google Shape;213;p30"/>
            <p:cNvPicPr preferRelativeResize="0"/>
            <p:nvPr/>
          </p:nvPicPr>
          <p:blipFill>
            <a:blip r:embed="rId8">
              <a:alphaModFix/>
            </a:blip>
            <a:srcRect r="64390"/>
            <a:stretch/>
          </p:blipFill>
          <p:spPr>
            <a:xfrm>
              <a:off x="311700" y="2174858"/>
              <a:ext cx="1437043" cy="39689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" name="Google Shape;217;p30">
            <a:extLst>
              <a:ext uri="{FF2B5EF4-FFF2-40B4-BE49-F238E27FC236}">
                <a16:creationId xmlns:a16="http://schemas.microsoft.com/office/drawing/2014/main" id="{D0E0A9F3-28E4-4A7B-447F-A1CAD67FFBB1}"/>
              </a:ext>
            </a:extLst>
          </p:cNvPr>
          <p:cNvSpPr txBox="1">
            <a:spLocks/>
          </p:cNvSpPr>
          <p:nvPr/>
        </p:nvSpPr>
        <p:spPr>
          <a:xfrm>
            <a:off x="245051" y="2795884"/>
            <a:ext cx="4076700" cy="16171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700" i="1" dirty="0">
                <a:latin typeface="Courier New" panose="02070309020205020404" pitchFamily="49" charset="0"/>
                <a:cs typeface="Courier New" panose="02070309020205020404" pitchFamily="49" charset="0"/>
              </a:rPr>
              <a:t>which(RVIF&gt;5)</a:t>
            </a:r>
            <a:r>
              <a:rPr lang="en-US" sz="1700" dirty="0"/>
              <a:t> highlights regressors that exhibit multicollinearity</a:t>
            </a:r>
            <a:br>
              <a:rPr lang="en-US" sz="1700" dirty="0"/>
            </a:br>
            <a:endParaRPr lang="en-US" sz="500" dirty="0"/>
          </a:p>
          <a:p>
            <a:pPr lvl="1">
              <a:buSzPct val="100000"/>
              <a:buFont typeface="Arial" panose="020B0604020202020204" pitchFamily="34" charset="0"/>
              <a:buChar char="∴"/>
            </a:pPr>
            <a:r>
              <a:rPr lang="en-US" sz="1300" dirty="0"/>
              <a:t>Fixed Acidity is highly collinear with the other regressors in the model 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71D9CAA-92B5-A882-4D3F-FD96847D2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9838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3" name="Google Shape;223;p31"/>
          <p:cNvPicPr preferRelativeResize="0"/>
          <p:nvPr/>
        </p:nvPicPr>
        <p:blipFill>
          <a:blip r:embed="rId6">
            <a:alphaModFix/>
          </a:blip>
          <a:srcRect r="28136"/>
          <a:stretch/>
        </p:blipFill>
        <p:spPr>
          <a:xfrm>
            <a:off x="307535" y="2163692"/>
            <a:ext cx="2938291" cy="40644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4" name="Google Shape;224;p3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449890" y="2514377"/>
            <a:ext cx="4517136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228" name="Google Shape;228;p3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CBF645E3-5449-5CED-7F11-6DCE332F2E5A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Variance Inflation Factor – White Wine</a:t>
            </a:r>
            <a:endParaRPr lang="en-US" b="1" dirty="0"/>
          </a:p>
        </p:txBody>
      </p:sp>
      <p:sp>
        <p:nvSpPr>
          <p:cNvPr id="7" name="Google Shape;217;p30">
            <a:extLst>
              <a:ext uri="{FF2B5EF4-FFF2-40B4-BE49-F238E27FC236}">
                <a16:creationId xmlns:a16="http://schemas.microsoft.com/office/drawing/2014/main" id="{8AD6265E-D7F9-8558-2B91-03411E537093}"/>
              </a:ext>
            </a:extLst>
          </p:cNvPr>
          <p:cNvSpPr txBox="1">
            <a:spLocks/>
          </p:cNvSpPr>
          <p:nvPr/>
        </p:nvSpPr>
        <p:spPr>
          <a:xfrm>
            <a:off x="246572" y="2796574"/>
            <a:ext cx="4076700" cy="16171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700" i="1" dirty="0">
                <a:latin typeface="Courier New" panose="02070309020205020404" pitchFamily="49" charset="0"/>
                <a:cs typeface="Courier New" panose="02070309020205020404" pitchFamily="49" charset="0"/>
              </a:rPr>
              <a:t>which(RVIF&gt;5)</a:t>
            </a:r>
            <a:r>
              <a:rPr lang="en-US" sz="1700" dirty="0"/>
              <a:t> highlights regressors that exhibit multicollinearity</a:t>
            </a:r>
            <a:br>
              <a:rPr lang="en-US" sz="1700" dirty="0"/>
            </a:br>
            <a:endParaRPr lang="en-US" sz="500" dirty="0"/>
          </a:p>
          <a:p>
            <a:pPr lvl="1">
              <a:buSzPct val="100000"/>
              <a:buFont typeface="Arial" panose="020B0604020202020204" pitchFamily="34" charset="0"/>
              <a:buChar char="∴"/>
            </a:pPr>
            <a:r>
              <a:rPr lang="en-US" sz="1300" dirty="0"/>
              <a:t>Residual Sugar, Density, and Alcohol are highly collinear with the other regressors in the model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29911C7-414E-58D8-AF03-6F34CECD1D70}"/>
              </a:ext>
            </a:extLst>
          </p:cNvPr>
          <p:cNvGrpSpPr/>
          <p:nvPr/>
        </p:nvGrpSpPr>
        <p:grpSpPr>
          <a:xfrm>
            <a:off x="307535" y="865325"/>
            <a:ext cx="4014216" cy="1118457"/>
            <a:chOff x="178527" y="1152675"/>
            <a:chExt cx="4014216" cy="1118457"/>
          </a:xfrm>
        </p:grpSpPr>
        <p:pic>
          <p:nvPicPr>
            <p:cNvPr id="225" name="Google Shape;225;p31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178527" y="1152675"/>
              <a:ext cx="4014216" cy="109728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26" name="Google Shape;226;p31"/>
            <p:cNvSpPr/>
            <p:nvPr/>
          </p:nvSpPr>
          <p:spPr>
            <a:xfrm>
              <a:off x="2138730" y="1755360"/>
              <a:ext cx="612149" cy="259182"/>
            </a:xfrm>
            <a:prstGeom prst="roundRect">
              <a:avLst>
                <a:gd name="adj" fmla="val 16667"/>
              </a:avLst>
            </a:prstGeom>
            <a:noFill/>
            <a:ln w="2857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31"/>
            <p:cNvSpPr/>
            <p:nvPr/>
          </p:nvSpPr>
          <p:spPr>
            <a:xfrm>
              <a:off x="515098" y="1503247"/>
              <a:ext cx="943636" cy="259182"/>
            </a:xfrm>
            <a:prstGeom prst="roundRect">
              <a:avLst>
                <a:gd name="adj" fmla="val 16667"/>
              </a:avLst>
            </a:prstGeom>
            <a:noFill/>
            <a:ln w="2857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8" name="Google Shape;226;p31">
              <a:extLst>
                <a:ext uri="{FF2B5EF4-FFF2-40B4-BE49-F238E27FC236}">
                  <a16:creationId xmlns:a16="http://schemas.microsoft.com/office/drawing/2014/main" id="{6C9EA184-D70A-0DD0-0506-A588319A16AF}"/>
                </a:ext>
              </a:extLst>
            </p:cNvPr>
            <p:cNvSpPr/>
            <p:nvPr/>
          </p:nvSpPr>
          <p:spPr>
            <a:xfrm>
              <a:off x="2138730" y="2011950"/>
              <a:ext cx="612149" cy="259182"/>
            </a:xfrm>
            <a:prstGeom prst="roundRect">
              <a:avLst>
                <a:gd name="adj" fmla="val 16667"/>
              </a:avLst>
            </a:prstGeom>
            <a:noFill/>
            <a:ln w="2857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" name="Google Shape;217;p30">
            <a:extLst>
              <a:ext uri="{FF2B5EF4-FFF2-40B4-BE49-F238E27FC236}">
                <a16:creationId xmlns:a16="http://schemas.microsoft.com/office/drawing/2014/main" id="{E6CE2977-6E9E-F047-A8AF-4E4BA15B4121}"/>
              </a:ext>
            </a:extLst>
          </p:cNvPr>
          <p:cNvSpPr txBox="1">
            <a:spLocks/>
          </p:cNvSpPr>
          <p:nvPr/>
        </p:nvSpPr>
        <p:spPr>
          <a:xfrm>
            <a:off x="4670108" y="827047"/>
            <a:ext cx="4076700" cy="1389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" sz="1700" dirty="0"/>
              <a:t>Threshold for VIF: 5</a:t>
            </a:r>
            <a:br>
              <a:rPr lang="en" sz="1700" dirty="0"/>
            </a:br>
            <a:endParaRPr lang="en" sz="800" dirty="0"/>
          </a:p>
          <a:p>
            <a:pPr>
              <a:buFont typeface="Arial" panose="020B0604020202020204" pitchFamily="34" charset="0"/>
              <a:buChar char="•"/>
            </a:pPr>
            <a:r>
              <a:rPr lang="en" sz="1700" dirty="0"/>
              <a:t>A variable with a higher VIF contributes more to the standard error of a regression</a:t>
            </a:r>
            <a:endParaRPr lang="en-US" sz="13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80D25B-C2A5-7701-91E3-C8A63474AA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8133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Google Shape;68;p1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6" name="Google Shape;66;p14">
            <a:extLst>
              <a:ext uri="{FF2B5EF4-FFF2-40B4-BE49-F238E27FC236}">
                <a16:creationId xmlns:a16="http://schemas.microsoft.com/office/drawing/2014/main" id="{E4E48FD9-D557-679E-A44A-1712FE0B8462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Agenda</a:t>
            </a:r>
            <a:endParaRPr lang="en-US" b="1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278E15C-606F-ECEC-D2BD-AA15CD91C220}"/>
              </a:ext>
            </a:extLst>
          </p:cNvPr>
          <p:cNvGrpSpPr/>
          <p:nvPr/>
        </p:nvGrpSpPr>
        <p:grpSpPr>
          <a:xfrm>
            <a:off x="1247775" y="1396725"/>
            <a:ext cx="6648450" cy="2649150"/>
            <a:chOff x="1247775" y="1396725"/>
            <a:chExt cx="6648450" cy="2649150"/>
          </a:xfrm>
        </p:grpSpPr>
        <p:pic>
          <p:nvPicPr>
            <p:cNvPr id="67" name="Google Shape;67;p14"/>
            <p:cNvPicPr preferRelativeResize="0"/>
            <p:nvPr/>
          </p:nvPicPr>
          <p:blipFill rotWithShape="1">
            <a:blip r:embed="rId6">
              <a:alphaModFix/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250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 b="24828"/>
            <a:stretch/>
          </p:blipFill>
          <p:spPr>
            <a:xfrm>
              <a:off x="1247775" y="1396725"/>
              <a:ext cx="6648450" cy="26491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Google Shape;67;p14">
              <a:extLst>
                <a:ext uri="{FF2B5EF4-FFF2-40B4-BE49-F238E27FC236}">
                  <a16:creationId xmlns:a16="http://schemas.microsoft.com/office/drawing/2014/main" id="{A4D97E09-5E83-193A-7B68-92FB7414EC57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Cutout numberOfShades="0"/>
                      </a14:imgEffect>
                      <a14:imgEffect>
                        <a14:sharpenSoften amount="250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 t="67991" r="12800" b="26093"/>
            <a:stretch/>
          </p:blipFill>
          <p:spPr>
            <a:xfrm>
              <a:off x="1247775" y="3789134"/>
              <a:ext cx="5797459" cy="208478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C58563-753A-C6FB-8706-1C9B94C16C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0470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6" name="Google Shape;236;p32"/>
          <p:cNvSpPr txBox="1">
            <a:spLocks noGrp="1"/>
          </p:cNvSpPr>
          <p:nvPr>
            <p:ph type="body" idx="1"/>
          </p:nvPr>
        </p:nvSpPr>
        <p:spPr>
          <a:xfrm>
            <a:off x="285969" y="879576"/>
            <a:ext cx="3687514" cy="323664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indent="-3302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K-fold cross validation is a procedure used to estimate the skill of the model on new data</a:t>
            </a:r>
            <a:br>
              <a:rPr lang="en-US" sz="1700" dirty="0"/>
            </a:br>
            <a:endParaRPr lang="en" sz="1600" dirty="0"/>
          </a:p>
          <a:p>
            <a:pPr marL="457200" lvl="0" indent="-33020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Four fold Cross Validation</a:t>
            </a:r>
            <a:br>
              <a:rPr lang="en" sz="1700" dirty="0"/>
            </a:br>
            <a:endParaRPr lang="en" sz="600" dirty="0"/>
          </a:p>
          <a:p>
            <a:pPr lvl="1" indent="-3302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/>
              <a:t>Because the performance metrics across all four folds are similar, the red wine model can be described as robust</a:t>
            </a:r>
            <a:br>
              <a:rPr lang="en" sz="1300" dirty="0"/>
            </a:br>
            <a:endParaRPr lang="en" sz="600" dirty="0"/>
          </a:p>
          <a:p>
            <a:pPr lvl="1" indent="-3302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300" dirty="0"/>
              <a:t>In other words, the model performance stays stable when the data (in both the training and test sets) changes, thus, it is robust</a:t>
            </a:r>
            <a:endParaRPr sz="1300" dirty="0"/>
          </a:p>
        </p:txBody>
      </p:sp>
      <p:sp>
        <p:nvSpPr>
          <p:cNvPr id="237" name="Google Shape;237;p32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BBAA702-74D3-D03E-0C00-C0B24D29B75A}"/>
              </a:ext>
            </a:extLst>
          </p:cNvPr>
          <p:cNvGrpSpPr/>
          <p:nvPr/>
        </p:nvGrpSpPr>
        <p:grpSpPr>
          <a:xfrm>
            <a:off x="4465904" y="896202"/>
            <a:ext cx="4383814" cy="3388415"/>
            <a:chOff x="3686263" y="1103938"/>
            <a:chExt cx="4695825" cy="3616237"/>
          </a:xfrm>
        </p:grpSpPr>
        <p:pic>
          <p:nvPicPr>
            <p:cNvPr id="238" name="Google Shape;238;p32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3686263" y="1103938"/>
              <a:ext cx="4695825" cy="359092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9" name="Google Shape;239;p32"/>
            <p:cNvSpPr/>
            <p:nvPr/>
          </p:nvSpPr>
          <p:spPr>
            <a:xfrm>
              <a:off x="3949832" y="1112659"/>
              <a:ext cx="412246" cy="145800"/>
            </a:xfrm>
            <a:prstGeom prst="roundRect">
              <a:avLst>
                <a:gd name="adj" fmla="val 16667"/>
              </a:avLst>
            </a:prstGeom>
            <a:noFill/>
            <a:ln w="2857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32"/>
            <p:cNvSpPr/>
            <p:nvPr/>
          </p:nvSpPr>
          <p:spPr>
            <a:xfrm>
              <a:off x="4069443" y="3232766"/>
              <a:ext cx="2453400" cy="190500"/>
            </a:xfrm>
            <a:prstGeom prst="roundRect">
              <a:avLst>
                <a:gd name="adj" fmla="val 16667"/>
              </a:avLst>
            </a:prstGeom>
            <a:noFill/>
            <a:ln w="2857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32"/>
            <p:cNvSpPr/>
            <p:nvPr/>
          </p:nvSpPr>
          <p:spPr>
            <a:xfrm>
              <a:off x="3939993" y="4506357"/>
              <a:ext cx="2712300" cy="213818"/>
            </a:xfrm>
            <a:prstGeom prst="roundRect">
              <a:avLst>
                <a:gd name="adj" fmla="val 16667"/>
              </a:avLst>
            </a:prstGeom>
            <a:noFill/>
            <a:ln w="2857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" name="Google Shape;66;p14">
            <a:extLst>
              <a:ext uri="{FF2B5EF4-FFF2-40B4-BE49-F238E27FC236}">
                <a16:creationId xmlns:a16="http://schemas.microsoft.com/office/drawing/2014/main" id="{4246DD1E-ACDA-6C2B-230E-B1190C3CAF49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Red Wine Model Robustness (K-fold CV Test)</a:t>
            </a:r>
            <a:endParaRPr lang="en-US" b="1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AB927B6-835D-89F1-1F7B-19DDBEC322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522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7" name="Google Shape;247;p33"/>
          <p:cNvSpPr txBox="1">
            <a:spLocks noGrp="1"/>
          </p:cNvSpPr>
          <p:nvPr>
            <p:ph type="body" idx="1"/>
          </p:nvPr>
        </p:nvSpPr>
        <p:spPr>
          <a:xfrm>
            <a:off x="303387" y="861037"/>
            <a:ext cx="8520600" cy="133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indent="-346823"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Because the performance metrics across all four folds are similar, the white wine model can be described as robust</a:t>
            </a:r>
            <a:br>
              <a:rPr lang="en-US" sz="1700" dirty="0"/>
            </a:br>
            <a:endParaRPr lang="en" sz="1600" dirty="0"/>
          </a:p>
          <a:p>
            <a:pPr marL="457200" lvl="0" indent="-346823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In other words, the model performance stays stable when the data (in both the training and test sets) changes, thus, it is robust</a:t>
            </a:r>
            <a:endParaRPr lang="en" sz="1700" dirty="0"/>
          </a:p>
        </p:txBody>
      </p:sp>
      <p:sp>
        <p:nvSpPr>
          <p:cNvPr id="249" name="Google Shape;249;p3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F3C49EB-21B3-0CEC-C8BD-921ECCD26012}"/>
              </a:ext>
            </a:extLst>
          </p:cNvPr>
          <p:cNvGrpSpPr/>
          <p:nvPr/>
        </p:nvGrpSpPr>
        <p:grpSpPr>
          <a:xfrm>
            <a:off x="1495312" y="2715666"/>
            <a:ext cx="2286000" cy="2182713"/>
            <a:chOff x="1487001" y="2522300"/>
            <a:chExt cx="2286000" cy="2182713"/>
          </a:xfrm>
        </p:grpSpPr>
        <p:pic>
          <p:nvPicPr>
            <p:cNvPr id="250" name="Google Shape;250;p33"/>
            <p:cNvPicPr preferRelativeResize="0"/>
            <p:nvPr/>
          </p:nvPicPr>
          <p:blipFill rotWithShape="1">
            <a:blip r:embed="rId6">
              <a:alphaModFix/>
            </a:blip>
            <a:srcRect l="3803" t="11755" r="4545" b="7397"/>
            <a:stretch/>
          </p:blipFill>
          <p:spPr>
            <a:xfrm>
              <a:off x="1487001" y="2522300"/>
              <a:ext cx="2286000" cy="18288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51" name="Google Shape;251;p33"/>
            <p:cNvSpPr txBox="1"/>
            <p:nvPr/>
          </p:nvSpPr>
          <p:spPr>
            <a:xfrm>
              <a:off x="2335378" y="4351100"/>
              <a:ext cx="972426" cy="3539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100" dirty="0">
                  <a:latin typeface="Proxima Nova"/>
                  <a:ea typeface="Proxima Nova"/>
                  <a:cs typeface="Proxima Nova"/>
                  <a:sym typeface="Proxima Nova"/>
                </a:rPr>
                <a:t>Red Wine</a:t>
              </a:r>
              <a:endParaRPr sz="1100" dirty="0"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06BFB74-09ED-5969-86F2-DAB880396E42}"/>
              </a:ext>
            </a:extLst>
          </p:cNvPr>
          <p:cNvGrpSpPr/>
          <p:nvPr/>
        </p:nvGrpSpPr>
        <p:grpSpPr>
          <a:xfrm>
            <a:off x="5379312" y="2715666"/>
            <a:ext cx="2286000" cy="2181522"/>
            <a:chOff x="5370999" y="2522300"/>
            <a:chExt cx="2286000" cy="2181522"/>
          </a:xfrm>
        </p:grpSpPr>
        <p:pic>
          <p:nvPicPr>
            <p:cNvPr id="248" name="Google Shape;248;p33"/>
            <p:cNvPicPr preferRelativeResize="0"/>
            <p:nvPr/>
          </p:nvPicPr>
          <p:blipFill rotWithShape="1">
            <a:blip r:embed="rId7">
              <a:alphaModFix/>
            </a:blip>
            <a:srcRect l="6221" t="12593" r="5283" b="8448"/>
            <a:stretch/>
          </p:blipFill>
          <p:spPr>
            <a:xfrm>
              <a:off x="5370999" y="2522300"/>
              <a:ext cx="2286000" cy="18288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52" name="Google Shape;252;p33"/>
            <p:cNvSpPr txBox="1"/>
            <p:nvPr/>
          </p:nvSpPr>
          <p:spPr>
            <a:xfrm>
              <a:off x="6149710" y="4349909"/>
              <a:ext cx="972427" cy="3539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100" dirty="0">
                  <a:latin typeface="Proxima Nova"/>
                  <a:ea typeface="Proxima Nova"/>
                  <a:cs typeface="Proxima Nova"/>
                  <a:sym typeface="Proxima Nova"/>
                </a:rPr>
                <a:t>White Wine</a:t>
              </a:r>
              <a:endParaRPr sz="1100" dirty="0"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sp>
        <p:nvSpPr>
          <p:cNvPr id="9" name="Google Shape;66;p14">
            <a:extLst>
              <a:ext uri="{FF2B5EF4-FFF2-40B4-BE49-F238E27FC236}">
                <a16:creationId xmlns:a16="http://schemas.microsoft.com/office/drawing/2014/main" id="{37B3A1D3-127E-BCBB-5EC3-6BE88BFED930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White Wine Model Robustness (K-fold CV Test)</a:t>
            </a:r>
            <a:endParaRPr lang="en-US" b="1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E2E1DA-21DA-EEF0-3932-816C3A09FF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45486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8" name="Google Shape;258;p34"/>
          <p:cNvSpPr txBox="1">
            <a:spLocks noGrp="1"/>
          </p:cNvSpPr>
          <p:nvPr>
            <p:ph type="body" idx="1"/>
          </p:nvPr>
        </p:nvSpPr>
        <p:spPr>
          <a:xfrm>
            <a:off x="295436" y="858876"/>
            <a:ext cx="4260300" cy="4665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Best model (eight regressors):</a:t>
            </a:r>
            <a:endParaRPr sz="1700" dirty="0"/>
          </a:p>
        </p:txBody>
      </p:sp>
      <p:sp>
        <p:nvSpPr>
          <p:cNvPr id="259" name="Google Shape;259;p3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sp>
        <p:nvSpPr>
          <p:cNvPr id="262" name="Google Shape;262;p34"/>
          <p:cNvSpPr txBox="1">
            <a:spLocks noGrp="1"/>
          </p:cNvSpPr>
          <p:nvPr>
            <p:ph type="body" idx="4294967295"/>
          </p:nvPr>
        </p:nvSpPr>
        <p:spPr>
          <a:xfrm>
            <a:off x="311700" y="2720974"/>
            <a:ext cx="1654600" cy="4802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(RVIF&gt;5):</a:t>
            </a:r>
            <a:endParaRPr sz="1700" dirty="0"/>
          </a:p>
        </p:txBody>
      </p:sp>
      <p:sp>
        <p:nvSpPr>
          <p:cNvPr id="263" name="Google Shape;263;p34"/>
          <p:cNvSpPr txBox="1">
            <a:spLocks noGrp="1"/>
          </p:cNvSpPr>
          <p:nvPr>
            <p:ph type="body" idx="4294967295"/>
          </p:nvPr>
        </p:nvSpPr>
        <p:spPr>
          <a:xfrm>
            <a:off x="311700" y="3454008"/>
            <a:ext cx="8286750" cy="10229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•"/>
            </a:pPr>
            <a:r>
              <a:rPr lang="en" sz="1700" dirty="0"/>
              <a:t>Variable(s) most important towards determining the quality of red wine:</a:t>
            </a:r>
            <a:br>
              <a:rPr lang="en" sz="1700" dirty="0"/>
            </a:br>
            <a:endParaRPr lang="en" sz="600" dirty="0"/>
          </a:p>
          <a:p>
            <a:pPr lvl="1">
              <a:buSzPts val="1800"/>
              <a:buFont typeface="Arial" panose="020B0604020202020204" pitchFamily="34" charset="0"/>
              <a:buChar char="•"/>
            </a:pPr>
            <a:r>
              <a:rPr lang="en" sz="1300" dirty="0"/>
              <a:t>Volatile Acidity, Citric Acid, Chlorides, Free Sulfur Dioxide, Total Sulfur Dioxide, Sulphates, and Alcohol</a:t>
            </a:r>
            <a:endParaRPr sz="1300" dirty="0"/>
          </a:p>
        </p:txBody>
      </p:sp>
      <p:pic>
        <p:nvPicPr>
          <p:cNvPr id="260" name="Google Shape;260;p34"/>
          <p:cNvPicPr preferRelativeResize="0"/>
          <p:nvPr/>
        </p:nvPicPr>
        <p:blipFill rotWithShape="1">
          <a:blip r:embed="rId6">
            <a:alphaModFix/>
          </a:blip>
          <a:srcRect b="76009"/>
          <a:stretch/>
        </p:blipFill>
        <p:spPr>
          <a:xfrm>
            <a:off x="812947" y="1459821"/>
            <a:ext cx="5616149" cy="1102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61" name="Google Shape;261;p34"/>
          <p:cNvPicPr preferRelativeResize="0"/>
          <p:nvPr/>
        </p:nvPicPr>
        <p:blipFill rotWithShape="1">
          <a:blip r:embed="rId7">
            <a:alphaModFix/>
          </a:blip>
          <a:srcRect r="69195"/>
          <a:stretch/>
        </p:blipFill>
        <p:spPr>
          <a:xfrm>
            <a:off x="2344833" y="2847366"/>
            <a:ext cx="1654600" cy="480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E29C66EB-8C46-66DE-E9AA-437592021394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Red Wine Model Conclusion</a:t>
            </a:r>
            <a:endParaRPr lang="en-US" b="1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38271C-99CE-F9DE-E17E-A7418B5D5D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135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Google Shape;270;p35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pic>
        <p:nvPicPr>
          <p:cNvPr id="274" name="Google Shape;274;p35"/>
          <p:cNvPicPr preferRelativeResize="0"/>
          <p:nvPr/>
        </p:nvPicPr>
        <p:blipFill rotWithShape="1">
          <a:blip r:embed="rId6">
            <a:alphaModFix/>
          </a:blip>
          <a:srcRect b="76316"/>
          <a:stretch/>
        </p:blipFill>
        <p:spPr>
          <a:xfrm>
            <a:off x="820630" y="1459274"/>
            <a:ext cx="5614416" cy="1106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5" name="Google Shape;275;p35"/>
          <p:cNvPicPr preferRelativeResize="0"/>
          <p:nvPr/>
        </p:nvPicPr>
        <p:blipFill>
          <a:blip r:embed="rId7">
            <a:alphaModFix/>
          </a:blip>
          <a:srcRect r="29548"/>
          <a:stretch/>
        </p:blipFill>
        <p:spPr>
          <a:xfrm>
            <a:off x="2340880" y="2830361"/>
            <a:ext cx="3840480" cy="4754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66;p14">
            <a:extLst>
              <a:ext uri="{FF2B5EF4-FFF2-40B4-BE49-F238E27FC236}">
                <a16:creationId xmlns:a16="http://schemas.microsoft.com/office/drawing/2014/main" id="{3A786B3F-47E9-7CC5-6CEB-737B140138EA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White Wine Model Conclusion</a:t>
            </a:r>
            <a:endParaRPr lang="en-US" b="1" dirty="0"/>
          </a:p>
        </p:txBody>
      </p:sp>
      <p:sp>
        <p:nvSpPr>
          <p:cNvPr id="9" name="Google Shape;258;p34">
            <a:extLst>
              <a:ext uri="{FF2B5EF4-FFF2-40B4-BE49-F238E27FC236}">
                <a16:creationId xmlns:a16="http://schemas.microsoft.com/office/drawing/2014/main" id="{024B0213-17EB-09DE-29ED-7F017B96612A}"/>
              </a:ext>
            </a:extLst>
          </p:cNvPr>
          <p:cNvSpPr txBox="1">
            <a:spLocks/>
          </p:cNvSpPr>
          <p:nvPr/>
        </p:nvSpPr>
        <p:spPr>
          <a:xfrm>
            <a:off x="295436" y="858876"/>
            <a:ext cx="4260300" cy="466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Best model (eight regressors):</a:t>
            </a:r>
          </a:p>
        </p:txBody>
      </p:sp>
      <p:sp>
        <p:nvSpPr>
          <p:cNvPr id="12" name="Google Shape;262;p34">
            <a:extLst>
              <a:ext uri="{FF2B5EF4-FFF2-40B4-BE49-F238E27FC236}">
                <a16:creationId xmlns:a16="http://schemas.microsoft.com/office/drawing/2014/main" id="{44B7E99B-CC7A-A61A-A1E5-1C60D95DE1BE}"/>
              </a:ext>
            </a:extLst>
          </p:cNvPr>
          <p:cNvSpPr txBox="1">
            <a:spLocks/>
          </p:cNvSpPr>
          <p:nvPr/>
        </p:nvSpPr>
        <p:spPr>
          <a:xfrm>
            <a:off x="311700" y="2720974"/>
            <a:ext cx="1654600" cy="480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(RVIF&gt;5):</a:t>
            </a:r>
          </a:p>
        </p:txBody>
      </p:sp>
      <p:sp>
        <p:nvSpPr>
          <p:cNvPr id="13" name="Google Shape;263;p34">
            <a:extLst>
              <a:ext uri="{FF2B5EF4-FFF2-40B4-BE49-F238E27FC236}">
                <a16:creationId xmlns:a16="http://schemas.microsoft.com/office/drawing/2014/main" id="{37911E37-477C-07BC-59A9-F0EA52C70D0E}"/>
              </a:ext>
            </a:extLst>
          </p:cNvPr>
          <p:cNvSpPr txBox="1">
            <a:spLocks/>
          </p:cNvSpPr>
          <p:nvPr/>
        </p:nvSpPr>
        <p:spPr>
          <a:xfrm>
            <a:off x="311700" y="3454008"/>
            <a:ext cx="8286750" cy="1022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700" dirty="0"/>
              <a:t>Variable(s) most important towards determining the quality of white wine:</a:t>
            </a:r>
            <a:br>
              <a:rPr lang="en-US" sz="1700" dirty="0"/>
            </a:br>
            <a:endParaRPr lang="en-US" sz="600" dirty="0"/>
          </a:p>
          <a:p>
            <a:pPr lvl="1">
              <a:buSzPts val="1800"/>
              <a:buFont typeface="Arial" panose="020B0604020202020204" pitchFamily="34" charset="0"/>
              <a:buChar char="•"/>
            </a:pPr>
            <a:r>
              <a:rPr lang="en-US" sz="1300" dirty="0"/>
              <a:t>Fixed Acidity, Volatile Acidity, Free Sulfur Dioxide, pH, and Sulphates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1C4F766-C00D-9B7D-2B30-0F7414EBCE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64931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1" name="Google Shape;281;p36"/>
          <p:cNvSpPr txBox="1">
            <a:spLocks noGrp="1"/>
          </p:cNvSpPr>
          <p:nvPr>
            <p:ph type="body" idx="1"/>
          </p:nvPr>
        </p:nvSpPr>
        <p:spPr>
          <a:xfrm>
            <a:off x="759756" y="858876"/>
            <a:ext cx="8155644" cy="385942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6099B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chive.ics.uci.edu/ml/datasets/Wine+Quality</a:t>
            </a:r>
            <a:endParaRPr sz="1400" dirty="0">
              <a:solidFill>
                <a:srgbClr val="6099BC"/>
              </a:solidFill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6099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ciencedirect.com/science/article/pii/S0167923609001377?via%3Dihub</a:t>
            </a:r>
            <a:endParaRPr sz="1400" dirty="0">
              <a:solidFill>
                <a:srgbClr val="6099BC"/>
              </a:solidFill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6099BC"/>
                </a:solidFill>
                <a:latin typeface="Arial"/>
                <a:ea typeface="Arial"/>
                <a:cs typeface="Arial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store.ac.uk/srme/www/fac/soc/wie/research-new/srme/modules/mod3/3/index.html</a:t>
            </a:r>
            <a:endParaRPr sz="1400" dirty="0">
              <a:solidFill>
                <a:srgbClr val="6099B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6099BC"/>
                </a:solidFill>
                <a:latin typeface="Arial"/>
                <a:ea typeface="Arial"/>
                <a:cs typeface="Arial"/>
                <a:sym typeface="Arial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ineperspective.com/wine-acidity/</a:t>
            </a:r>
            <a:endParaRPr sz="1400" dirty="0">
              <a:solidFill>
                <a:srgbClr val="6099B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6099BC"/>
                </a:solidFill>
                <a:latin typeface="Arial"/>
                <a:ea typeface="Arial"/>
                <a:cs typeface="Arial"/>
                <a:sym typeface="Arial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inemakermag.com/technique/1650-monitoring-adjusting-ph</a:t>
            </a:r>
            <a:endParaRPr sz="1400" dirty="0">
              <a:solidFill>
                <a:srgbClr val="6099B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6099BC"/>
                </a:solidFill>
                <a:latin typeface="Arial"/>
                <a:ea typeface="Arial"/>
                <a:cs typeface="Arial"/>
                <a:sym typeface="Arial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inemakermag.com/article/547-phiguring-out-ph</a:t>
            </a:r>
            <a:endParaRPr sz="1400" dirty="0">
              <a:solidFill>
                <a:srgbClr val="6099B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6099BC"/>
                </a:solidFill>
                <a:latin typeface="Arial"/>
                <a:ea typeface="Arial"/>
                <a:cs typeface="Arial"/>
                <a:sym typeface="Arial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icssolutions.com/assumptions-of-multiple-linear-regression/</a:t>
            </a:r>
            <a:endParaRPr lang="en" sz="1400" dirty="0">
              <a:solidFill>
                <a:srgbClr val="6099B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4</a:t>
            </a:fld>
            <a:endParaRPr/>
          </a:p>
        </p:txBody>
      </p:sp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369B6857-C45A-1A75-17C0-40568F7E729C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References</a:t>
            </a:r>
            <a:endParaRPr lang="en-US" b="1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24D3981-D39D-4C25-E004-22376581C9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2457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7" name="Google Shape;287;p37"/>
          <p:cNvSpPr txBox="1">
            <a:spLocks noGrp="1"/>
          </p:cNvSpPr>
          <p:nvPr>
            <p:ph type="title"/>
          </p:nvPr>
        </p:nvSpPr>
        <p:spPr>
          <a:xfrm>
            <a:off x="2671925" y="2072550"/>
            <a:ext cx="3953700" cy="9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990"/>
              <a:buNone/>
            </a:pPr>
            <a:r>
              <a:rPr lang="en" sz="5000" b="1"/>
              <a:t>THANK YOU</a:t>
            </a:r>
            <a:endParaRPr sz="5000" b="1"/>
          </a:p>
        </p:txBody>
      </p:sp>
      <p:sp>
        <p:nvSpPr>
          <p:cNvPr id="288" name="Google Shape;288;p3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198FFC8-EAF5-2D0C-801B-4E043D987F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1634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Google Shape;74;p15"/>
          <p:cNvSpPr txBox="1">
            <a:spLocks noGrp="1"/>
          </p:cNvSpPr>
          <p:nvPr>
            <p:ph type="body" idx="1"/>
          </p:nvPr>
        </p:nvSpPr>
        <p:spPr>
          <a:xfrm>
            <a:off x="311700" y="871406"/>
            <a:ext cx="5053200" cy="362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Wine was once viewed as a luxury good, but is now enjoyed by a wide range of consumers</a:t>
            </a:r>
            <a:br>
              <a:rPr lang="en" sz="1700" dirty="0"/>
            </a:br>
            <a:endParaRPr lang="en-US" sz="1300" dirty="0"/>
          </a:p>
          <a:p>
            <a:pPr lvl="0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Portugal is a top ten wine exporting country</a:t>
            </a:r>
            <a:br>
              <a:rPr lang="en-US" sz="1700" dirty="0"/>
            </a:br>
            <a:endParaRPr lang="en-US" sz="600" dirty="0"/>
          </a:p>
          <a:p>
            <a:pPr lvl="1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300" dirty="0"/>
              <a:t>Exports of</a:t>
            </a:r>
            <a:r>
              <a:rPr lang="en-US" sz="1300" i="1" dirty="0"/>
              <a:t> Vinho Verde</a:t>
            </a:r>
            <a:r>
              <a:rPr lang="en-US" sz="1300" dirty="0"/>
              <a:t> have increased by 36% from 1997 to 2007</a:t>
            </a:r>
            <a:br>
              <a:rPr lang="en-US" sz="1300" dirty="0"/>
            </a:br>
            <a:endParaRPr lang="en-US" sz="1300" dirty="0"/>
          </a:p>
          <a:p>
            <a:pPr>
              <a:lnSpc>
                <a:spcPct val="114000"/>
              </a:lnSpc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Wine certifications and quality assessments are essential in the wine industry towards enhancing growth</a:t>
            </a:r>
            <a:endParaRPr sz="1700" dirty="0"/>
          </a:p>
        </p:txBody>
      </p:sp>
      <p:sp>
        <p:nvSpPr>
          <p:cNvPr id="76" name="Google Shape;76;p15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  <p:pic>
        <p:nvPicPr>
          <p:cNvPr id="75" name="Google Shape;75;p15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573008" y="1572858"/>
            <a:ext cx="3173800" cy="211692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66;p14">
            <a:extLst>
              <a:ext uri="{FF2B5EF4-FFF2-40B4-BE49-F238E27FC236}">
                <a16:creationId xmlns:a16="http://schemas.microsoft.com/office/drawing/2014/main" id="{F94B2EF8-7052-463C-0D6C-C57AF2C77C23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Background on Wine</a:t>
            </a:r>
            <a:endParaRPr lang="en-US" b="1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FA1E149-6672-A222-C968-BE862B2482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8737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Google Shape;82;p16"/>
          <p:cNvSpPr txBox="1">
            <a:spLocks noGrp="1"/>
          </p:cNvSpPr>
          <p:nvPr>
            <p:ph type="body" idx="1"/>
          </p:nvPr>
        </p:nvSpPr>
        <p:spPr>
          <a:xfrm>
            <a:off x="311700" y="800676"/>
            <a:ext cx="8292600" cy="59888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Two large datasets, one for </a:t>
            </a:r>
            <a:r>
              <a:rPr lang="en" sz="1700" b="1" dirty="0"/>
              <a:t>red wine</a:t>
            </a:r>
            <a:r>
              <a:rPr lang="en" sz="1700" dirty="0"/>
              <a:t> and one for </a:t>
            </a:r>
            <a:r>
              <a:rPr lang="en" sz="1700" b="1" dirty="0"/>
              <a:t>white wine</a:t>
            </a:r>
            <a:br>
              <a:rPr lang="en" sz="1700" dirty="0"/>
            </a:br>
            <a:br>
              <a:rPr lang="en" sz="1700" dirty="0"/>
            </a:br>
            <a:br>
              <a:rPr lang="en" sz="1700" dirty="0"/>
            </a:br>
            <a:br>
              <a:rPr lang="en" sz="1700" dirty="0"/>
            </a:br>
            <a:br>
              <a:rPr lang="en" sz="1700" dirty="0"/>
            </a:br>
            <a:br>
              <a:rPr lang="en" sz="1700" dirty="0"/>
            </a:br>
            <a:endParaRPr lang="en" sz="1700" dirty="0"/>
          </a:p>
          <a:p>
            <a:pPr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b="1" dirty="0"/>
              <a:t>Objective</a:t>
            </a:r>
          </a:p>
          <a:p>
            <a:pPr lvl="1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Build a </a:t>
            </a:r>
            <a:r>
              <a:rPr lang="en-US" sz="1300" b="1" dirty="0"/>
              <a:t>model</a:t>
            </a:r>
            <a:r>
              <a:rPr lang="en-US" sz="1300" dirty="0"/>
              <a:t> </a:t>
            </a:r>
            <a:r>
              <a:rPr lang="en-US" sz="1300" b="1" dirty="0"/>
              <a:t>to</a:t>
            </a:r>
            <a:r>
              <a:rPr lang="en-US" sz="1300" dirty="0"/>
              <a:t> </a:t>
            </a:r>
            <a:r>
              <a:rPr lang="en-US" sz="1300" b="1" dirty="0"/>
              <a:t>predict</a:t>
            </a:r>
            <a:r>
              <a:rPr lang="en-US" sz="1300" dirty="0"/>
              <a:t> </a:t>
            </a:r>
            <a:r>
              <a:rPr lang="en-US" sz="1300" b="1" dirty="0"/>
              <a:t>wine</a:t>
            </a:r>
            <a:r>
              <a:rPr lang="en-US" sz="1300" dirty="0"/>
              <a:t> </a:t>
            </a:r>
            <a:r>
              <a:rPr lang="en-US" sz="1300" b="1" dirty="0"/>
              <a:t>taste preferences</a:t>
            </a:r>
            <a:r>
              <a:rPr lang="en-US" sz="1300" dirty="0"/>
              <a:t> based on distinct variables</a:t>
            </a:r>
          </a:p>
        </p:txBody>
      </p:sp>
      <p:sp>
        <p:nvSpPr>
          <p:cNvPr id="86" name="Google Shape;86;p1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pic>
        <p:nvPicPr>
          <p:cNvPr id="85" name="Google Shape;85;p1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360920" y="192560"/>
            <a:ext cx="1591617" cy="1264165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84;p16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086788" y="1744050"/>
            <a:ext cx="3130126" cy="1372150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Google Shape;87;p16"/>
          <p:cNvSpPr txBox="1"/>
          <p:nvPr/>
        </p:nvSpPr>
        <p:spPr>
          <a:xfrm>
            <a:off x="1937251" y="3089627"/>
            <a:ext cx="1429200" cy="353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accent3"/>
                </a:solidFill>
                <a:latin typeface="Proxima Nova"/>
                <a:sym typeface="Proxima Nova"/>
              </a:rPr>
              <a:t>Red Wine</a:t>
            </a:r>
          </a:p>
        </p:txBody>
      </p:sp>
      <p:pic>
        <p:nvPicPr>
          <p:cNvPr id="83" name="Google Shape;83;p16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722397" y="1744050"/>
            <a:ext cx="3106814" cy="137215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16"/>
          <p:cNvSpPr txBox="1"/>
          <p:nvPr/>
        </p:nvSpPr>
        <p:spPr>
          <a:xfrm>
            <a:off x="5561204" y="3089627"/>
            <a:ext cx="1429200" cy="353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accent3"/>
                </a:solidFill>
                <a:latin typeface="Proxima Nova"/>
                <a:sym typeface="Proxima Nova"/>
              </a:rPr>
              <a:t>White Wine</a:t>
            </a:r>
          </a:p>
        </p:txBody>
      </p:sp>
      <p:sp>
        <p:nvSpPr>
          <p:cNvPr id="4" name="Google Shape;66;p14">
            <a:extLst>
              <a:ext uri="{FF2B5EF4-FFF2-40B4-BE49-F238E27FC236}">
                <a16:creationId xmlns:a16="http://schemas.microsoft.com/office/drawing/2014/main" id="{1FA05E02-3D3C-58D3-85E5-1C1B9D1376A2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Data Description</a:t>
            </a:r>
            <a:endParaRPr lang="en-US" b="1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FD6074A-B8B9-595A-2C8B-4C6FC31B09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6408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Google Shape;94;p17"/>
          <p:cNvSpPr txBox="1">
            <a:spLocks noGrp="1"/>
          </p:cNvSpPr>
          <p:nvPr>
            <p:ph type="body" idx="1"/>
          </p:nvPr>
        </p:nvSpPr>
        <p:spPr>
          <a:xfrm>
            <a:off x="305985" y="868815"/>
            <a:ext cx="8222700" cy="3259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457200" lvl="0" indent="-3365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700"/>
              <a:buFont typeface="Arial" panose="020B0604020202020204" pitchFamily="34" charset="0"/>
              <a:buChar char="•"/>
            </a:pPr>
            <a:r>
              <a:rPr lang="en" sz="1700" dirty="0"/>
              <a:t>Total </a:t>
            </a:r>
            <a:r>
              <a:rPr lang="en" sz="1700" b="1" dirty="0"/>
              <a:t>acidity</a:t>
            </a:r>
            <a:r>
              <a:rPr lang="en" sz="1700" dirty="0"/>
              <a:t> tells us the concentration of acids present in wine</a:t>
            </a:r>
            <a:br>
              <a:rPr lang="en" sz="1700" dirty="0"/>
            </a:br>
            <a:endParaRPr sz="1700" dirty="0"/>
          </a:p>
          <a:p>
            <a:pPr marL="457200" lvl="0" indent="-3365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700"/>
              <a:buFont typeface="Arial" panose="020B0604020202020204" pitchFamily="34" charset="0"/>
              <a:buChar char="•"/>
            </a:pPr>
            <a:r>
              <a:rPr lang="en" sz="1700" b="1" dirty="0"/>
              <a:t>Potential of hydrogen (pH)</a:t>
            </a:r>
            <a:r>
              <a:rPr lang="en" sz="1700" dirty="0"/>
              <a:t> level tells us how intense these acids taste</a:t>
            </a:r>
            <a:br>
              <a:rPr lang="en" sz="1700" dirty="0"/>
            </a:br>
            <a:endParaRPr sz="600" dirty="0"/>
          </a:p>
          <a:p>
            <a:pPr marL="914400" lvl="1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Font typeface="Arial" panose="020B0604020202020204" pitchFamily="34" charset="0"/>
              <a:buChar char="•"/>
            </a:pPr>
            <a:r>
              <a:rPr lang="en" sz="1300" dirty="0"/>
              <a:t>Measures the degree of relative alkalinity of a liquid on a scale of 0 to 14, with 7 being neutral</a:t>
            </a:r>
            <a:br>
              <a:rPr lang="en" sz="1300" dirty="0"/>
            </a:br>
            <a:endParaRPr sz="1300" dirty="0"/>
          </a:p>
          <a:p>
            <a:pPr marL="457200" lvl="0" indent="-3365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700"/>
              <a:buFont typeface="Arial" panose="020B0604020202020204" pitchFamily="34" charset="0"/>
              <a:buChar char="•"/>
            </a:pPr>
            <a:r>
              <a:rPr lang="en" sz="1700" dirty="0"/>
              <a:t>Winemakers use </a:t>
            </a:r>
            <a:r>
              <a:rPr lang="en" sz="1700" b="1" dirty="0"/>
              <a:t>pH</a:t>
            </a:r>
            <a:r>
              <a:rPr lang="en" sz="1700" dirty="0"/>
              <a:t> as a way to measure ripeness in relation to </a:t>
            </a:r>
            <a:r>
              <a:rPr lang="en" sz="1700" b="1" dirty="0"/>
              <a:t>acidity</a:t>
            </a:r>
            <a:br>
              <a:rPr lang="en" sz="1700" dirty="0"/>
            </a:br>
            <a:endParaRPr sz="600" dirty="0"/>
          </a:p>
          <a:p>
            <a:pPr marL="914400" lvl="1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Font typeface="Arial" panose="020B0604020202020204" pitchFamily="34" charset="0"/>
              <a:buChar char="•"/>
            </a:pPr>
            <a:r>
              <a:rPr lang="en" sz="1300" dirty="0"/>
              <a:t>Low pH wines will taste tart and crisp</a:t>
            </a:r>
            <a:br>
              <a:rPr lang="en" sz="1300" dirty="0"/>
            </a:br>
            <a:endParaRPr sz="600" dirty="0"/>
          </a:p>
          <a:p>
            <a:pPr marL="914400" lvl="1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Font typeface="Arial" panose="020B0604020202020204" pitchFamily="34" charset="0"/>
              <a:buChar char="•"/>
            </a:pPr>
            <a:r>
              <a:rPr lang="en" sz="1300" dirty="0"/>
              <a:t>Higher pH wines will taste flat and lack freshness</a:t>
            </a:r>
            <a:br>
              <a:rPr lang="en" sz="1300" dirty="0"/>
            </a:br>
            <a:endParaRPr sz="600" dirty="0"/>
          </a:p>
          <a:p>
            <a:pPr marL="914400" lvl="1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Font typeface="Arial" panose="020B0604020202020204" pitchFamily="34" charset="0"/>
              <a:buChar char="•"/>
            </a:pPr>
            <a:r>
              <a:rPr lang="en" sz="1300" dirty="0"/>
              <a:t>Most importantly, higher pH wines are more susceptible to bacterial growth, as bacteria thrive in higher pH environments</a:t>
            </a:r>
            <a:endParaRPr sz="1300" dirty="0"/>
          </a:p>
        </p:txBody>
      </p:sp>
      <p:sp>
        <p:nvSpPr>
          <p:cNvPr id="96" name="Google Shape;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pic>
        <p:nvPicPr>
          <p:cNvPr id="95" name="Google Shape;95;p17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117080" y="268116"/>
            <a:ext cx="1805018" cy="90549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66;p14">
            <a:extLst>
              <a:ext uri="{FF2B5EF4-FFF2-40B4-BE49-F238E27FC236}">
                <a16:creationId xmlns:a16="http://schemas.microsoft.com/office/drawing/2014/main" id="{ED81D841-B7B8-1785-FFD2-CC260C77A350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Importance of Specific Variables in Wine</a:t>
            </a:r>
            <a:endParaRPr lang="en-US" b="1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0612" y="244843"/>
            <a:ext cx="6922776" cy="4615174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1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610429C-F114-F71D-AFE9-3C2EFFAC08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9796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Google Shape;108;p19"/>
          <p:cNvSpPr txBox="1">
            <a:spLocks noGrp="1"/>
          </p:cNvSpPr>
          <p:nvPr>
            <p:ph type="body" idx="1"/>
          </p:nvPr>
        </p:nvSpPr>
        <p:spPr>
          <a:xfrm>
            <a:off x="311700" y="86926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Ideal pH range for red wine is </a:t>
            </a:r>
            <a:r>
              <a:rPr lang="en" sz="1700" b="1" dirty="0"/>
              <a:t>3.3 - 3.6</a:t>
            </a:r>
            <a:br>
              <a:rPr lang="en" sz="1700" dirty="0"/>
            </a:br>
            <a:endParaRPr lang="en"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Ideal pH range for white wine is </a:t>
            </a:r>
            <a:r>
              <a:rPr lang="en" sz="1700" b="1" dirty="0"/>
              <a:t>3.0 - 3.4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Warmer climates result in higher sugar and lower acidity, whereas cooler climates result in lower sugar and higher acidity</a:t>
            </a:r>
            <a:br>
              <a:rPr lang="en" sz="1700" dirty="0"/>
            </a:br>
            <a:endParaRPr sz="17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In a less acidic environment, a winemaker needs to compensate with higher doses of sulfur dioxide (SO2) to keep bacteria away</a:t>
            </a:r>
            <a:br>
              <a:rPr lang="en-US" sz="800" dirty="0"/>
            </a:br>
            <a:endParaRPr lang="en" sz="600" dirty="0"/>
          </a:p>
          <a:p>
            <a:pPr lvl="1">
              <a:buSzPct val="100000"/>
              <a:buFont typeface="Arial" panose="020B0604020202020204" pitchFamily="34" charset="0"/>
              <a:buChar char="•"/>
            </a:pPr>
            <a:r>
              <a:rPr lang="en" sz="1300" dirty="0"/>
              <a:t>E.g. a red wine with a pH of 3.9 would require about 60 mg/L of free SO2 to inhibit bacteria whereas a similar wine but with a pH of 3.2 would only require about 13 mg/L</a:t>
            </a:r>
            <a:endParaRPr sz="1300" dirty="0"/>
          </a:p>
        </p:txBody>
      </p:sp>
      <p:sp>
        <p:nvSpPr>
          <p:cNvPr id="109" name="Google Shape;109;p19"/>
          <p:cNvSpPr txBox="1">
            <a:spLocks noGrp="1"/>
          </p:cNvSpPr>
          <p:nvPr>
            <p:ph type="sldNum" idx="12"/>
          </p:nvPr>
        </p:nvSpPr>
        <p:spPr>
          <a:xfrm>
            <a:off x="8472458" y="460039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6" name="Google Shape;66;p14">
            <a:extLst>
              <a:ext uri="{FF2B5EF4-FFF2-40B4-BE49-F238E27FC236}">
                <a16:creationId xmlns:a16="http://schemas.microsoft.com/office/drawing/2014/main" id="{3F872337-9328-8B3A-B821-F01E817E6039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Ideal Acidity for Wine</a:t>
            </a:r>
            <a:endParaRPr lang="en-US" b="1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E8D6B50-3331-865B-5E5E-9D7EDF6FFC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4851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Google Shape;115;p20"/>
          <p:cNvSpPr txBox="1">
            <a:spLocks noGrp="1"/>
          </p:cNvSpPr>
          <p:nvPr>
            <p:ph type="body" idx="1"/>
          </p:nvPr>
        </p:nvSpPr>
        <p:spPr>
          <a:xfrm>
            <a:off x="311700" y="86926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dirty="0"/>
              <a:t>Wines of </a:t>
            </a:r>
            <a:r>
              <a:rPr lang="en" sz="1700" b="1" dirty="0"/>
              <a:t>different acidity levels</a:t>
            </a:r>
            <a:r>
              <a:rPr lang="en" sz="1700" dirty="0"/>
              <a:t> can be </a:t>
            </a:r>
            <a:r>
              <a:rPr lang="en" sz="1700" b="1" dirty="0"/>
              <a:t>blended</a:t>
            </a:r>
            <a:r>
              <a:rPr lang="en" sz="1700" dirty="0"/>
              <a:t> to increase or lower the pH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b="1" dirty="0"/>
              <a:t>Acid reduction</a:t>
            </a:r>
            <a:r>
              <a:rPr lang="en" sz="1700" dirty="0"/>
              <a:t> using potassium bicarbonate (KHCO</a:t>
            </a:r>
            <a:r>
              <a:rPr lang="en" sz="1700" baseline="-25000" dirty="0"/>
              <a:t>3</a:t>
            </a:r>
            <a:r>
              <a:rPr lang="en" sz="1700" dirty="0"/>
              <a:t>) or agents such as ACIDEX to remove acidity and raise the pH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b="1" dirty="0"/>
              <a:t>Cold stabilization</a:t>
            </a:r>
            <a:r>
              <a:rPr lang="en" sz="1700" dirty="0"/>
              <a:t> of wine can be used to increase or decrease pH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b="1" dirty="0"/>
              <a:t>H</a:t>
            </a:r>
            <a:r>
              <a:rPr lang="en" sz="1700" b="1" baseline="-25000" dirty="0"/>
              <a:t>2</a:t>
            </a:r>
            <a:r>
              <a:rPr lang="en" sz="1700" b="1" dirty="0"/>
              <a:t>O</a:t>
            </a:r>
            <a:r>
              <a:rPr lang="en" sz="1700" dirty="0"/>
              <a:t> can be added to wine to </a:t>
            </a:r>
            <a:r>
              <a:rPr lang="en" sz="1700" b="1" dirty="0"/>
              <a:t>dilute</a:t>
            </a:r>
            <a:r>
              <a:rPr lang="en" sz="1700" dirty="0"/>
              <a:t> its acidity and increase the pH</a:t>
            </a:r>
            <a:br>
              <a:rPr lang="en" sz="1700" dirty="0"/>
            </a:br>
            <a:endParaRPr sz="1700" dirty="0"/>
          </a:p>
          <a:p>
            <a:pPr lvl="0" algn="l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" sz="1700" b="1" dirty="0"/>
              <a:t>Malolactic fermentation</a:t>
            </a:r>
            <a:r>
              <a:rPr lang="en" sz="1700" dirty="0"/>
              <a:t> can raise the pH and alter the acidity of wine</a:t>
            </a:r>
            <a:endParaRPr sz="1700" dirty="0"/>
          </a:p>
        </p:txBody>
      </p:sp>
      <p:sp>
        <p:nvSpPr>
          <p:cNvPr id="116" name="Google Shape;116;p20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90BE3214-DF07-101A-3A88-C5C6C435C285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How Winemakers Control for Acidity</a:t>
            </a:r>
            <a:endParaRPr lang="en-US" b="1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A8D03EA-7C89-8B48-279E-CAE41F38F3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2531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Google Shape;122;p21"/>
          <p:cNvSpPr txBox="1">
            <a:spLocks noGrp="1"/>
          </p:cNvSpPr>
          <p:nvPr>
            <p:ph type="body" idx="1"/>
          </p:nvPr>
        </p:nvSpPr>
        <p:spPr>
          <a:xfrm>
            <a:off x="304243" y="801764"/>
            <a:ext cx="8520600" cy="375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08623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Response/Dependent variable(s)</a:t>
            </a:r>
          </a:p>
          <a:p>
            <a:pPr marL="865823" lvl="1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Wine Quality</a:t>
            </a:r>
          </a:p>
          <a:p>
            <a:pPr marL="408623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Regressor/Independent variable(s): </a:t>
            </a:r>
          </a:p>
          <a:p>
            <a:pPr marL="865823" lvl="1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Fixed Acidity, Volatile Acidity, Citric Acid, Residual Sugar, Chlorides, Free Sulfur Dioxide, Total Sulfur Dioxide, Density, pH, Sulphates, Alcohol</a:t>
            </a:r>
            <a:endParaRPr lang="en-US" sz="1300" dirty="0">
              <a:solidFill>
                <a:srgbClr val="000000"/>
              </a:solidFill>
            </a:endParaRPr>
          </a:p>
          <a:p>
            <a:pPr marL="408623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700" dirty="0"/>
              <a:t>Training and Test sets</a:t>
            </a:r>
          </a:p>
          <a:p>
            <a:pPr marL="865823" lvl="1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Red wine</a:t>
            </a:r>
          </a:p>
          <a:p>
            <a:pPr marL="1323023" lvl="2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Red training set: [1:800,]</a:t>
            </a:r>
          </a:p>
          <a:p>
            <a:pPr marL="1323023" lvl="2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Red test set: [801:nrow(red),]</a:t>
            </a:r>
          </a:p>
          <a:p>
            <a:pPr marL="865823" lvl="1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White wine</a:t>
            </a:r>
          </a:p>
          <a:p>
            <a:pPr marL="1323023" lvl="2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White training set: [1:2400,]</a:t>
            </a:r>
          </a:p>
          <a:p>
            <a:pPr marL="1323023" lvl="2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100" dirty="0"/>
              <a:t>White test set: [2401:nrow(white),]</a:t>
            </a:r>
          </a:p>
        </p:txBody>
      </p:sp>
      <p:sp>
        <p:nvSpPr>
          <p:cNvPr id="124" name="Google Shape;124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pic>
        <p:nvPicPr>
          <p:cNvPr id="123" name="Google Shape;123;p2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753090" y="3000085"/>
            <a:ext cx="1840425" cy="117582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962BAD7D-F7F0-2E1C-7A91-1BCA91CA8A75}"/>
              </a:ext>
            </a:extLst>
          </p:cNvPr>
          <p:cNvSpPr txBox="1">
            <a:spLocks/>
          </p:cNvSpPr>
          <p:nvPr/>
        </p:nvSpPr>
        <p:spPr>
          <a:xfrm>
            <a:off x="311700" y="24512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" b="1" dirty="0"/>
              <a:t>Multiple Linear Regression</a:t>
            </a:r>
            <a:endParaRPr lang="en-US" b="1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earmint">
  <a:themeElements>
    <a:clrScheme name="Custom 1">
      <a:dk1>
        <a:srgbClr val="202729"/>
      </a:dk1>
      <a:lt1>
        <a:srgbClr val="FFFFFF"/>
      </a:lt1>
      <a:dk2>
        <a:srgbClr val="AE0000"/>
      </a:dk2>
      <a:lt2>
        <a:srgbClr val="E13A49"/>
      </a:lt2>
      <a:accent1>
        <a:srgbClr val="353744"/>
      </a:accent1>
      <a:accent2>
        <a:srgbClr val="424242"/>
      </a:accent2>
      <a:accent3>
        <a:srgbClr val="616161"/>
      </a:accent3>
      <a:accent4>
        <a:srgbClr val="999999"/>
      </a:accent4>
      <a:accent5>
        <a:srgbClr val="FF5252"/>
      </a:accent5>
      <a:accent6>
        <a:srgbClr val="FFF176"/>
      </a:accent6>
      <a:hlink>
        <a:srgbClr val="FF5252"/>
      </a:hlink>
      <a:folHlink>
        <a:srgbClr val="FF525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4</TotalTime>
  <Words>2164</Words>
  <Application>Microsoft Macintosh PowerPoint</Application>
  <PresentationFormat>On-screen Show (16:9)</PresentationFormat>
  <Paragraphs>205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Courier New</vt:lpstr>
      <vt:lpstr>Proxima Nova</vt:lpstr>
      <vt:lpstr>Arial</vt:lpstr>
      <vt:lpstr>Lato</vt:lpstr>
      <vt:lpstr>Georgia</vt:lpstr>
      <vt:lpstr>Roboto</vt:lpstr>
      <vt:lpstr>Open Sans</vt:lpstr>
      <vt:lpstr>Spearmint</vt:lpstr>
      <vt:lpstr>think-cell Slide</vt:lpstr>
      <vt:lpstr>Modeling Wine Preferences via Data Mi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Dev Misra</cp:lastModifiedBy>
  <cp:revision>139</cp:revision>
  <dcterms:modified xsi:type="dcterms:W3CDTF">2025-02-16T00:11:30Z</dcterms:modified>
</cp:coreProperties>
</file>